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
  </p:notesMasterIdLst>
  <p:handoutMasterIdLst>
    <p:handoutMasterId r:id="rId9"/>
  </p:handoutMasterIdLst>
  <p:sldIdLst>
    <p:sldId id="302" r:id="rId5"/>
    <p:sldId id="303" r:id="rId6"/>
    <p:sldId id="304" r:id="rId7"/>
  </p:sldIdLst>
  <p:sldSz cx="12192000" cy="6858000"/>
  <p:notesSz cx="6858000" cy="9144000"/>
  <p:custDataLst>
    <p:tags r:id="rId10"/>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haboob Basha Shaik" initials="MBS" lastIdx="1" clrIdx="0">
    <p:extLst>
      <p:ext uri="{19B8F6BF-5375-455C-9EA6-DF929625EA0E}">
        <p15:presenceInfo xmlns:p15="http://schemas.microsoft.com/office/powerpoint/2012/main" userId="S::mahaboobbasha.8.shaik@gsk.com::d8b41955-2854-4d37-9c1f-fcf8501062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8853" autoAdjust="0"/>
  </p:normalViewPr>
  <p:slideViewPr>
    <p:cSldViewPr snapToGrid="0" showGuides="1">
      <p:cViewPr varScale="1">
        <p:scale>
          <a:sx n="114" d="100"/>
          <a:sy n="114" d="100"/>
        </p:scale>
        <p:origin x="414" y="11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80" d="100"/>
        <a:sy n="180" d="100"/>
      </p:scale>
      <p:origin x="0" y="-20268"/>
    </p:cViewPr>
  </p:sorterViewPr>
  <p:notesViewPr>
    <p:cSldViewPr snapToGrid="0" showGuides="1">
      <p:cViewPr varScale="1">
        <p:scale>
          <a:sx n="60" d="100"/>
          <a:sy n="60" d="100"/>
        </p:scale>
        <p:origin x="338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haboob Basha Shaik" userId="d8b41955-2854-4d37-9c1f-fcf850106297" providerId="ADAL" clId="{3CC143BB-C940-4C1E-836F-2C40C06A2EA2}"/>
    <pc:docChg chg="undo custSel addSld delSld modSld">
      <pc:chgData name="Mahaboob Basha Shaik" userId="d8b41955-2854-4d37-9c1f-fcf850106297" providerId="ADAL" clId="{3CC143BB-C940-4C1E-836F-2C40C06A2EA2}" dt="2022-12-27T10:39:50.151" v="110" actId="20577"/>
      <pc:docMkLst>
        <pc:docMk/>
      </pc:docMkLst>
      <pc:sldChg chg="del">
        <pc:chgData name="Mahaboob Basha Shaik" userId="d8b41955-2854-4d37-9c1f-fcf850106297" providerId="ADAL" clId="{3CC143BB-C940-4C1E-836F-2C40C06A2EA2}" dt="2022-12-27T10:32:46.068" v="0" actId="47"/>
        <pc:sldMkLst>
          <pc:docMk/>
          <pc:sldMk cId="3135415236" sldId="298"/>
        </pc:sldMkLst>
      </pc:sldChg>
      <pc:sldChg chg="del">
        <pc:chgData name="Mahaboob Basha Shaik" userId="d8b41955-2854-4d37-9c1f-fcf850106297" providerId="ADAL" clId="{3CC143BB-C940-4C1E-836F-2C40C06A2EA2}" dt="2022-12-27T10:32:47.099" v="2" actId="47"/>
        <pc:sldMkLst>
          <pc:docMk/>
          <pc:sldMk cId="3039272202" sldId="299"/>
        </pc:sldMkLst>
      </pc:sldChg>
      <pc:sldChg chg="modSp del mod">
        <pc:chgData name="Mahaboob Basha Shaik" userId="d8b41955-2854-4d37-9c1f-fcf850106297" providerId="ADAL" clId="{3CC143BB-C940-4C1E-836F-2C40C06A2EA2}" dt="2022-12-27T10:33:48.838" v="7" actId="47"/>
        <pc:sldMkLst>
          <pc:docMk/>
          <pc:sldMk cId="744456320" sldId="300"/>
        </pc:sldMkLst>
        <pc:spChg chg="mod">
          <ac:chgData name="Mahaboob Basha Shaik" userId="d8b41955-2854-4d37-9c1f-fcf850106297" providerId="ADAL" clId="{3CC143BB-C940-4C1E-836F-2C40C06A2EA2}" dt="2022-12-27T10:33:15.843" v="6" actId="1076"/>
          <ac:spMkLst>
            <pc:docMk/>
            <pc:sldMk cId="744456320" sldId="300"/>
            <ac:spMk id="11" creationId="{FEFAD35B-EA29-4D4F-9DA9-6F71E5660944}"/>
          </ac:spMkLst>
        </pc:spChg>
      </pc:sldChg>
      <pc:sldChg chg="del">
        <pc:chgData name="Mahaboob Basha Shaik" userId="d8b41955-2854-4d37-9c1f-fcf850106297" providerId="ADAL" clId="{3CC143BB-C940-4C1E-836F-2C40C06A2EA2}" dt="2022-12-27T10:32:46.386" v="1" actId="47"/>
        <pc:sldMkLst>
          <pc:docMk/>
          <pc:sldMk cId="2725810237" sldId="301"/>
        </pc:sldMkLst>
      </pc:sldChg>
      <pc:sldChg chg="addSp modSp mod">
        <pc:chgData name="Mahaboob Basha Shaik" userId="d8b41955-2854-4d37-9c1f-fcf850106297" providerId="ADAL" clId="{3CC143BB-C940-4C1E-836F-2C40C06A2EA2}" dt="2022-12-27T10:39:50.151" v="110" actId="20577"/>
        <pc:sldMkLst>
          <pc:docMk/>
          <pc:sldMk cId="1952713528" sldId="302"/>
        </pc:sldMkLst>
        <pc:spChg chg="mod">
          <ac:chgData name="Mahaboob Basha Shaik" userId="d8b41955-2854-4d37-9c1f-fcf850106297" providerId="ADAL" clId="{3CC143BB-C940-4C1E-836F-2C40C06A2EA2}" dt="2022-12-27T10:32:59.987" v="3" actId="14100"/>
          <ac:spMkLst>
            <pc:docMk/>
            <pc:sldMk cId="1952713528" sldId="302"/>
            <ac:spMk id="11" creationId="{FEFAD35B-EA29-4D4F-9DA9-6F71E5660944}"/>
          </ac:spMkLst>
        </pc:spChg>
        <pc:spChg chg="mod">
          <ac:chgData name="Mahaboob Basha Shaik" userId="d8b41955-2854-4d37-9c1f-fcf850106297" providerId="ADAL" clId="{3CC143BB-C940-4C1E-836F-2C40C06A2EA2}" dt="2022-12-27T10:35:12.173" v="15" actId="14100"/>
          <ac:spMkLst>
            <pc:docMk/>
            <pc:sldMk cId="1952713528" sldId="302"/>
            <ac:spMk id="12" creationId="{A06DED73-881E-4DA6-8B38-9D3DA76DA338}"/>
          </ac:spMkLst>
        </pc:spChg>
        <pc:spChg chg="add mod">
          <ac:chgData name="Mahaboob Basha Shaik" userId="d8b41955-2854-4d37-9c1f-fcf850106297" providerId="ADAL" clId="{3CC143BB-C940-4C1E-836F-2C40C06A2EA2}" dt="2022-12-27T10:39:50.151" v="110" actId="20577"/>
          <ac:spMkLst>
            <pc:docMk/>
            <pc:sldMk cId="1952713528" sldId="302"/>
            <ac:spMk id="13" creationId="{943A6F95-8628-44B1-A5EA-107D90288CDD}"/>
          </ac:spMkLst>
        </pc:spChg>
        <pc:spChg chg="mod">
          <ac:chgData name="Mahaboob Basha Shaik" userId="d8b41955-2854-4d37-9c1f-fcf850106297" providerId="ADAL" clId="{3CC143BB-C940-4C1E-836F-2C40C06A2EA2}" dt="2022-12-27T10:35:24.483" v="18" actId="403"/>
          <ac:spMkLst>
            <pc:docMk/>
            <pc:sldMk cId="1952713528" sldId="302"/>
            <ac:spMk id="14" creationId="{038D8666-C898-4B31-AFAF-90252C98929E}"/>
          </ac:spMkLst>
        </pc:spChg>
      </pc:sldChg>
      <pc:sldChg chg="addSp delSp modSp add mod">
        <pc:chgData name="Mahaboob Basha Shaik" userId="d8b41955-2854-4d37-9c1f-fcf850106297" providerId="ADAL" clId="{3CC143BB-C940-4C1E-836F-2C40C06A2EA2}" dt="2022-12-27T10:39:36.642" v="105" actId="207"/>
        <pc:sldMkLst>
          <pc:docMk/>
          <pc:sldMk cId="2684321152" sldId="303"/>
        </pc:sldMkLst>
        <pc:spChg chg="add mod">
          <ac:chgData name="Mahaboob Basha Shaik" userId="d8b41955-2854-4d37-9c1f-fcf850106297" providerId="ADAL" clId="{3CC143BB-C940-4C1E-836F-2C40C06A2EA2}" dt="2022-12-27T10:39:36.642" v="105" actId="207"/>
          <ac:spMkLst>
            <pc:docMk/>
            <pc:sldMk cId="2684321152" sldId="303"/>
            <ac:spMk id="2" creationId="{BA8559E5-685B-4FF3-AEAD-22C4258134E8}"/>
          </ac:spMkLst>
        </pc:spChg>
        <pc:spChg chg="add del mod">
          <ac:chgData name="Mahaboob Basha Shaik" userId="d8b41955-2854-4d37-9c1f-fcf850106297" providerId="ADAL" clId="{3CC143BB-C940-4C1E-836F-2C40C06A2EA2}" dt="2022-12-27T10:38:13.392" v="85" actId="1076"/>
          <ac:spMkLst>
            <pc:docMk/>
            <pc:sldMk cId="2684321152" sldId="303"/>
            <ac:spMk id="13" creationId="{FB4A9068-EBEF-4ACC-B6F4-8910D86AA005}"/>
          </ac:spMkLst>
        </pc:spChg>
        <pc:picChg chg="mod">
          <ac:chgData name="Mahaboob Basha Shaik" userId="d8b41955-2854-4d37-9c1f-fcf850106297" providerId="ADAL" clId="{3CC143BB-C940-4C1E-836F-2C40C06A2EA2}" dt="2022-12-27T10:36:18.058" v="22" actId="1076"/>
          <ac:picMkLst>
            <pc:docMk/>
            <pc:sldMk cId="2684321152" sldId="303"/>
            <ac:picMk id="10" creationId="{ACE2507E-7332-4F2D-AC41-924D2E362039}"/>
          </ac:picMkLst>
        </pc:picChg>
      </pc:sldChg>
      <pc:sldChg chg="modSp add del mod">
        <pc:chgData name="Mahaboob Basha Shaik" userId="d8b41955-2854-4d37-9c1f-fcf850106297" providerId="ADAL" clId="{3CC143BB-C940-4C1E-836F-2C40C06A2EA2}" dt="2022-12-27T10:34:59.247" v="13" actId="47"/>
        <pc:sldMkLst>
          <pc:docMk/>
          <pc:sldMk cId="2750620748" sldId="303"/>
        </pc:sldMkLst>
        <pc:spChg chg="mod">
          <ac:chgData name="Mahaboob Basha Shaik" userId="d8b41955-2854-4d37-9c1f-fcf850106297" providerId="ADAL" clId="{3CC143BB-C940-4C1E-836F-2C40C06A2EA2}" dt="2022-12-27T10:34:25.650" v="10" actId="1076"/>
          <ac:spMkLst>
            <pc:docMk/>
            <pc:sldMk cId="2750620748" sldId="303"/>
            <ac:spMk id="12" creationId="{A06DED73-881E-4DA6-8B38-9D3DA76DA338}"/>
          </ac:spMkLst>
        </pc:spChg>
        <pc:spChg chg="mod">
          <ac:chgData name="Mahaboob Basha Shaik" userId="d8b41955-2854-4d37-9c1f-fcf850106297" providerId="ADAL" clId="{3CC143BB-C940-4C1E-836F-2C40C06A2EA2}" dt="2022-12-27T10:34:30.797" v="11" actId="1076"/>
          <ac:spMkLst>
            <pc:docMk/>
            <pc:sldMk cId="2750620748" sldId="303"/>
            <ac:spMk id="14" creationId="{038D8666-C898-4B31-AFAF-90252C98929E}"/>
          </ac:spMkLst>
        </pc:spChg>
      </pc:sldChg>
    </pc:docChg>
  </pc:docChgLst>
  <pc:docChgLst>
    <pc:chgData name="Mahaboob Basha" userId="d8b41955-2854-4d37-9c1f-fcf850106297" providerId="ADAL" clId="{4051102A-D838-4DAA-B9E5-620DF0615016}"/>
    <pc:docChg chg="custSel addSld modSld">
      <pc:chgData name="Mahaboob Basha" userId="d8b41955-2854-4d37-9c1f-fcf850106297" providerId="ADAL" clId="{4051102A-D838-4DAA-B9E5-620DF0615016}" dt="2023-09-14T13:37:33.383" v="9" actId="1076"/>
      <pc:docMkLst>
        <pc:docMk/>
      </pc:docMkLst>
      <pc:sldChg chg="modSp mod">
        <pc:chgData name="Mahaboob Basha" userId="d8b41955-2854-4d37-9c1f-fcf850106297" providerId="ADAL" clId="{4051102A-D838-4DAA-B9E5-620DF0615016}" dt="2023-09-14T13:37:11.883" v="3" actId="1076"/>
        <pc:sldMkLst>
          <pc:docMk/>
          <pc:sldMk cId="1952713528" sldId="302"/>
        </pc:sldMkLst>
        <pc:spChg chg="mod">
          <ac:chgData name="Mahaboob Basha" userId="d8b41955-2854-4d37-9c1f-fcf850106297" providerId="ADAL" clId="{4051102A-D838-4DAA-B9E5-620DF0615016}" dt="2023-09-06T13:50:06.700" v="0" actId="14100"/>
          <ac:spMkLst>
            <pc:docMk/>
            <pc:sldMk cId="1952713528" sldId="302"/>
            <ac:spMk id="12" creationId="{A06DED73-881E-4DA6-8B38-9D3DA76DA338}"/>
          </ac:spMkLst>
        </pc:spChg>
        <pc:spChg chg="mod">
          <ac:chgData name="Mahaboob Basha" userId="d8b41955-2854-4d37-9c1f-fcf850106297" providerId="ADAL" clId="{4051102A-D838-4DAA-B9E5-620DF0615016}" dt="2023-09-14T13:37:11.883" v="3" actId="1076"/>
          <ac:spMkLst>
            <pc:docMk/>
            <pc:sldMk cId="1952713528" sldId="302"/>
            <ac:spMk id="14" creationId="{038D8666-C898-4B31-AFAF-90252C98929E}"/>
          </ac:spMkLst>
        </pc:spChg>
        <pc:picChg chg="mod">
          <ac:chgData name="Mahaboob Basha" userId="d8b41955-2854-4d37-9c1f-fcf850106297" providerId="ADAL" clId="{4051102A-D838-4DAA-B9E5-620DF0615016}" dt="2023-09-14T13:37:05.928" v="2" actId="1076"/>
          <ac:picMkLst>
            <pc:docMk/>
            <pc:sldMk cId="1952713528" sldId="302"/>
            <ac:picMk id="10" creationId="{ACE2507E-7332-4F2D-AC41-924D2E362039}"/>
          </ac:picMkLst>
        </pc:picChg>
      </pc:sldChg>
      <pc:sldChg chg="addSp delSp modSp new mod">
        <pc:chgData name="Mahaboob Basha" userId="d8b41955-2854-4d37-9c1f-fcf850106297" providerId="ADAL" clId="{4051102A-D838-4DAA-B9E5-620DF0615016}" dt="2023-09-14T13:37:33.383" v="9" actId="1076"/>
        <pc:sldMkLst>
          <pc:docMk/>
          <pc:sldMk cId="2662407219" sldId="304"/>
        </pc:sldMkLst>
        <pc:spChg chg="del">
          <ac:chgData name="Mahaboob Basha" userId="d8b41955-2854-4d37-9c1f-fcf850106297" providerId="ADAL" clId="{4051102A-D838-4DAA-B9E5-620DF0615016}" dt="2023-09-14T13:37:20.157" v="5" actId="478"/>
          <ac:spMkLst>
            <pc:docMk/>
            <pc:sldMk cId="2662407219" sldId="304"/>
            <ac:spMk id="2" creationId="{339C002C-12C1-28D0-716C-F153006A3A61}"/>
          </ac:spMkLst>
        </pc:spChg>
        <pc:spChg chg="del">
          <ac:chgData name="Mahaboob Basha" userId="d8b41955-2854-4d37-9c1f-fcf850106297" providerId="ADAL" clId="{4051102A-D838-4DAA-B9E5-620DF0615016}" dt="2023-09-14T13:37:20.157" v="5" actId="478"/>
          <ac:spMkLst>
            <pc:docMk/>
            <pc:sldMk cId="2662407219" sldId="304"/>
            <ac:spMk id="5" creationId="{FEE08295-015B-1CC0-ECD7-8C4A817AAA36}"/>
          </ac:spMkLst>
        </pc:spChg>
        <pc:spChg chg="del">
          <ac:chgData name="Mahaboob Basha" userId="d8b41955-2854-4d37-9c1f-fcf850106297" providerId="ADAL" clId="{4051102A-D838-4DAA-B9E5-620DF0615016}" dt="2023-09-14T13:37:20.157" v="5" actId="478"/>
          <ac:spMkLst>
            <pc:docMk/>
            <pc:sldMk cId="2662407219" sldId="304"/>
            <ac:spMk id="6" creationId="{437ABE42-37BD-BAC1-1CC5-5AA2F94B88BB}"/>
          </ac:spMkLst>
        </pc:spChg>
        <pc:spChg chg="del">
          <ac:chgData name="Mahaboob Basha" userId="d8b41955-2854-4d37-9c1f-fcf850106297" providerId="ADAL" clId="{4051102A-D838-4DAA-B9E5-620DF0615016}" dt="2023-09-14T13:37:20.157" v="5" actId="478"/>
          <ac:spMkLst>
            <pc:docMk/>
            <pc:sldMk cId="2662407219" sldId="304"/>
            <ac:spMk id="7" creationId="{E886CBF1-6C93-E699-31A0-46B44FD7958C}"/>
          </ac:spMkLst>
        </pc:spChg>
        <pc:picChg chg="add mod">
          <ac:chgData name="Mahaboob Basha" userId="d8b41955-2854-4d37-9c1f-fcf850106297" providerId="ADAL" clId="{4051102A-D838-4DAA-B9E5-620DF0615016}" dt="2023-09-14T13:37:32.376" v="8" actId="1076"/>
          <ac:picMkLst>
            <pc:docMk/>
            <pc:sldMk cId="2662407219" sldId="304"/>
            <ac:picMk id="9" creationId="{1AE278CB-4C74-8868-A461-95DB4953A9B4}"/>
          </ac:picMkLst>
        </pc:picChg>
        <pc:picChg chg="add mod">
          <ac:chgData name="Mahaboob Basha" userId="d8b41955-2854-4d37-9c1f-fcf850106297" providerId="ADAL" clId="{4051102A-D838-4DAA-B9E5-620DF0615016}" dt="2023-09-14T13:37:33.383" v="9" actId="1076"/>
          <ac:picMkLst>
            <pc:docMk/>
            <pc:sldMk cId="2662407219" sldId="304"/>
            <ac:picMk id="11" creationId="{F93E0F7E-644C-8BA4-7F81-C911182412B9}"/>
          </ac:picMkLst>
        </pc:picChg>
      </pc:sldChg>
    </pc:docChg>
  </pc:docChgLst>
  <pc:docChgLst>
    <pc:chgData name="Shaik Mahaboob Basha" userId="d8b41955-2854-4d37-9c1f-fcf850106297" providerId="ADAL" clId="{4BFD9607-131B-49DD-BDD8-A151FA61F474}"/>
    <pc:docChg chg="modSld">
      <pc:chgData name="Shaik Mahaboob Basha" userId="d8b41955-2854-4d37-9c1f-fcf850106297" providerId="ADAL" clId="{4BFD9607-131B-49DD-BDD8-A151FA61F474}" dt="2023-02-06T10:02:07.967" v="0" actId="1076"/>
      <pc:docMkLst>
        <pc:docMk/>
      </pc:docMkLst>
      <pc:sldChg chg="modSp mod">
        <pc:chgData name="Shaik Mahaboob Basha" userId="d8b41955-2854-4d37-9c1f-fcf850106297" providerId="ADAL" clId="{4BFD9607-131B-49DD-BDD8-A151FA61F474}" dt="2023-02-06T10:02:07.967" v="0" actId="1076"/>
        <pc:sldMkLst>
          <pc:docMk/>
          <pc:sldMk cId="1952713528" sldId="302"/>
        </pc:sldMkLst>
        <pc:picChg chg="mod">
          <ac:chgData name="Shaik Mahaboob Basha" userId="d8b41955-2854-4d37-9c1f-fcf850106297" providerId="ADAL" clId="{4BFD9607-131B-49DD-BDD8-A151FA61F474}" dt="2023-02-06T10:02:07.967" v="0" actId="1076"/>
          <ac:picMkLst>
            <pc:docMk/>
            <pc:sldMk cId="1952713528" sldId="302"/>
            <ac:picMk id="10" creationId="{ACE2507E-7332-4F2D-AC41-924D2E362039}"/>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C5DC5B-BF83-D0F8-F17D-E458477D6A3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CA5C446-58AD-F05A-78BC-F13AD7A39D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FE7CBA-E269-484E-BC88-4EF08BDBC0FE}" type="datetimeFigureOut">
              <a:rPr lang="en-GB" smtClean="0"/>
              <a:t>14/09/2023</a:t>
            </a:fld>
            <a:endParaRPr lang="en-GB"/>
          </a:p>
        </p:txBody>
      </p:sp>
      <p:sp>
        <p:nvSpPr>
          <p:cNvPr id="4" name="Footer Placeholder 3">
            <a:extLst>
              <a:ext uri="{FF2B5EF4-FFF2-40B4-BE49-F238E27FC236}">
                <a16:creationId xmlns:a16="http://schemas.microsoft.com/office/drawing/2014/main" id="{1BBAEC85-53EE-AA3F-A105-CB67500BDB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61DCF5B-A081-B9F4-9E5F-FDA0297F201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59F402-05D6-4C19-804E-80C8EBA9A784}" type="slidenum">
              <a:rPr lang="en-GB" smtClean="0"/>
              <a:t>‹#›</a:t>
            </a:fld>
            <a:endParaRPr lang="en-GB"/>
          </a:p>
        </p:txBody>
      </p:sp>
    </p:spTree>
    <p:extLst>
      <p:ext uri="{BB962C8B-B14F-4D97-AF65-F5344CB8AC3E}">
        <p14:creationId xmlns:p14="http://schemas.microsoft.com/office/powerpoint/2010/main" val="2082692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050A8971-52B8-4C5A-99D8-986A596F2912}" type="datetimeFigureOut">
              <a:rPr lang="en-GB" smtClean="0"/>
              <a:pPr/>
              <a:t>14/09/2023</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026B53C8-14E4-49A7-A1A5-3BF810B81EBE}" type="slidenum">
              <a:rPr lang="en-GB" smtClean="0"/>
              <a:pPr/>
              <a:t>‹#›</a:t>
            </a:fld>
            <a:endParaRPr lang="en-GB" dirty="0"/>
          </a:p>
        </p:txBody>
      </p:sp>
    </p:spTree>
    <p:extLst>
      <p:ext uri="{BB962C8B-B14F-4D97-AF65-F5344CB8AC3E}">
        <p14:creationId xmlns:p14="http://schemas.microsoft.com/office/powerpoint/2010/main" val="4209032733"/>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png"/><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g"/><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jpg"/><Relationship Id="rId7"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1.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userDrawn="1">
            <p:custDataLst>
              <p:tags r:id="rId1"/>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dirty="0" err="1">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bg1"/>
                </a:solidFill>
              </a:defRPr>
            </a:lvl1pPr>
          </a:lstStyle>
          <a:p>
            <a:r>
              <a:rPr lang="en-GB" dirty="0"/>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dirty="0"/>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366571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365125" y="1303338"/>
            <a:ext cx="3652838" cy="4477804"/>
          </a:xfrm>
          <a:prstGeom prst="roundRect">
            <a:avLst>
              <a:gd name="adj" fmla="val 4585"/>
            </a:avLst>
          </a:prstGeom>
          <a:solidFill>
            <a:schemeClr val="tx2"/>
          </a:solidFill>
          <a:ln>
            <a:noFill/>
          </a:ln>
        </p:spPr>
        <p:txBody>
          <a:bodyPr wrap="square">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TEXT content ONLY. </a:t>
            </a:r>
            <a:br>
              <a:rPr lang="en-US" dirty="0"/>
            </a:br>
            <a:r>
              <a:rPr lang="en-US" dirty="0"/>
              <a:t>If text content appears outside of the grey placeholder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14 September 2023</a:t>
            </a:fld>
            <a:endParaRPr lang="en-GB" dirty="0"/>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dirty="0"/>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dirty="0"/>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252000" tIns="234000" rIns="0" bIns="180000">
            <a:noAutofit/>
          </a:bodyPr>
          <a:lstStyle>
            <a:lvl1pPr>
              <a:defRPr/>
            </a:lvl1pPr>
          </a:lstStyle>
          <a:p>
            <a:pPr lvl="0"/>
            <a:r>
              <a:rPr lang="en-US" dirty="0"/>
              <a:t>Click to enter TEXT content ONLY.</a:t>
            </a:r>
            <a:br>
              <a:rPr lang="en-US" dirty="0"/>
            </a:br>
            <a:r>
              <a:rPr lang="en-US" dirty="0"/>
              <a:t>If text content appears too large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reeform: Shape 13">
            <a:extLst>
              <a:ext uri="{FF2B5EF4-FFF2-40B4-BE49-F238E27FC236}">
                <a16:creationId xmlns:a16="http://schemas.microsoft.com/office/drawing/2014/main" id="{17107491-B576-4FBA-DF55-410D54CA7B16}"/>
              </a:ext>
            </a:extLst>
          </p:cNvPr>
          <p:cNvSpPr/>
          <p:nvPr userDrawn="1"/>
        </p:nvSpPr>
        <p:spPr>
          <a:xfrm>
            <a:off x="4017963" y="1820564"/>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23832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253"/>
            </a:avLst>
          </a:prstGeom>
          <a:solidFill>
            <a:schemeClr val="bg1">
              <a:lumMod val="95000"/>
            </a:schemeClr>
          </a:solidFill>
          <a:ln>
            <a:noFill/>
          </a:ln>
        </p:spPr>
        <p:txBody>
          <a:bodyPr wrap="square" tIns="1080000">
            <a:noAutofit/>
          </a:bodyPr>
          <a:lstStyle>
            <a:lvl1pPr>
              <a:defRPr/>
            </a:lvl1pPr>
          </a:lstStyle>
          <a:p>
            <a:pPr lvl="0"/>
            <a:r>
              <a:rPr lang="en-US" dirty="0"/>
              <a:t>Click to enter TEXT content ONLY.</a:t>
            </a:r>
            <a:br>
              <a:rPr lang="en-US" dirty="0"/>
            </a:br>
            <a:r>
              <a:rPr lang="en-US" dirty="0"/>
              <a:t>If text appears outside of grey placeholder please reduce the size of the fo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a:defRPr/>
            </a:lvl1pPr>
          </a:lstStyle>
          <a:p>
            <a:pPr lvl="0"/>
            <a:r>
              <a:rPr lang="en-US" dirty="0"/>
              <a:t>Click to enter TEXT content ONLY.</a:t>
            </a:r>
            <a:br>
              <a:rPr lang="en-US" dirty="0"/>
            </a:br>
            <a:r>
              <a:rPr lang="en-US" dirty="0"/>
              <a:t>If text appears outside of grey placeholder please reduce the size of the fo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dirty="0"/>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dirty="0"/>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14 September 2023</a:t>
            </a:fld>
            <a:endParaRPr lang="en-GB" dirty="0"/>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dirty="0"/>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dirty="0"/>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532525" y="1454538"/>
            <a:ext cx="52668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nter</a:t>
            </a:r>
            <a:br>
              <a:rPr lang="en-GB" dirty="0"/>
            </a:br>
            <a:r>
              <a:rPr lang="en-GB" dirty="0"/>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391644" y="1454538"/>
            <a:ext cx="52650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nter</a:t>
            </a:r>
            <a:br>
              <a:rPr lang="en-GB" dirty="0"/>
            </a:br>
            <a:r>
              <a:rPr lang="en-GB" dirty="0"/>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361803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818"/>
            </a:avLst>
          </a:prstGeom>
          <a:solidFill>
            <a:schemeClr val="bg1">
              <a:lumMod val="95000"/>
            </a:schemeClr>
          </a:solidFill>
          <a:ln>
            <a:noFill/>
          </a:ln>
        </p:spPr>
        <p:txBody>
          <a:bodyPr lIns="108000" tIns="1008000">
            <a:noAutofit/>
          </a:bodyPr>
          <a:lstStyle>
            <a:lvl1pPr marL="0" indent="0" algn="ctr">
              <a:buNone/>
              <a:defRPr sz="2200" baseline="0">
                <a:solidFill>
                  <a:schemeClr val="tx1"/>
                </a:solidFill>
              </a:defRPr>
            </a:lvl1pPr>
          </a:lstStyle>
          <a:p>
            <a:r>
              <a:rPr lang="en-GB" dirty="0"/>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14 September 2023</a:t>
            </a:fld>
            <a:endParaRPr lang="en-GB" dirty="0"/>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dirty="0"/>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dirty="0"/>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15" name="Freeform: Shape 14">
            <a:extLst>
              <a:ext uri="{FF2B5EF4-FFF2-40B4-BE49-F238E27FC236}">
                <a16:creationId xmlns:a16="http://schemas.microsoft.com/office/drawing/2014/main" id="{73180677-148E-F381-0168-9327D51EF5C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851349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dirty="0"/>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727"/>
            </a:avLst>
          </a:prstGeom>
          <a:solidFill>
            <a:schemeClr val="bg1">
              <a:lumMod val="95000"/>
            </a:schemeClr>
          </a:solidFill>
          <a:ln>
            <a:noFill/>
          </a:ln>
        </p:spPr>
        <p:txBody>
          <a:bodyPr lIns="108000" tIns="108000" bIns="1224000" anchor="ctr">
            <a:noAutofit/>
          </a:bodyPr>
          <a:lstStyle>
            <a:lvl1pPr marL="0" indent="0" algn="ctr">
              <a:buNone/>
              <a:defRPr sz="2200" i="0" baseline="0">
                <a:solidFill>
                  <a:schemeClr val="tx1"/>
                </a:solidFill>
              </a:defRPr>
            </a:lvl1pPr>
          </a:lstStyle>
          <a:p>
            <a:r>
              <a:rPr lang="en-GB" dirty="0"/>
              <a:t>[Click on the film icon to insert video]</a:t>
            </a:r>
          </a:p>
        </p:txBody>
      </p:sp>
    </p:spTree>
    <p:extLst>
      <p:ext uri="{BB962C8B-B14F-4D97-AF65-F5344CB8AC3E}">
        <p14:creationId xmlns:p14="http://schemas.microsoft.com/office/powerpoint/2010/main" val="259932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4782"/>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r>
              <a:rPr lang="en-GB" dirty="0"/>
              <a:t>[The image can then be scaled within the frame by using the ‘Crop’ feature in the ‘Picture Format’ tab of the ribbon.</a:t>
            </a:r>
            <a:r>
              <a:rPr lang="en-US" dirty="0"/>
              <a:t> Right click on image to add/edit alt text</a:t>
            </a:r>
            <a:r>
              <a:rPr lang="en-GB" dirty="0"/>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dirty="0"/>
              <a:t>Click to enter text content.</a:t>
            </a:r>
            <a:br>
              <a:rPr lang="en-GB" dirty="0"/>
            </a:b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4 September 2023</a:t>
            </a:fld>
            <a:endParaRPr lang="en-GB" dirty="0"/>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dirty="0"/>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dirty="0"/>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49016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userDrawn="1">
            <p:custDataLst>
              <p:tags r:id="rId1"/>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14 September 2023</a:t>
            </a:fld>
            <a:endParaRPr lang="en-GB" dirty="0"/>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dirty="0"/>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dirty="0"/>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vert="horz"/>
          <a:lstStyle/>
          <a:p>
            <a:r>
              <a:rPr lang="en-US"/>
              <a:t>Click to edit Master title style</a:t>
            </a:r>
            <a:endParaRPr lang="en-US" dirty="0"/>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4124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14 September 2023</a:t>
            </a:fld>
            <a:endParaRPr lang="en-GB" dirty="0"/>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dirty="0"/>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dirty="0"/>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1602049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endParaRPr lang="en-GB" dirty="0"/>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dirty="0"/>
              <a:t>Click to enter text content.</a:t>
            </a:r>
            <a:br>
              <a:rPr lang="en-GB" dirty="0"/>
            </a:b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4 September 2023</a:t>
            </a:fld>
            <a:endParaRPr lang="en-GB" dirty="0"/>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dirty="0"/>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dirty="0"/>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411050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dirty="0"/>
              <a:t>Click to enter text content.</a:t>
            </a:r>
            <a:br>
              <a:rPr lang="en-GB" dirty="0"/>
            </a:b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4 September 2023</a:t>
            </a:fld>
            <a:endParaRPr lang="en-GB" dirty="0"/>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dirty="0"/>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dirty="0"/>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dirty="0"/>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426319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0" tIns="180000" rIns="0" bIns="180000">
            <a:noAutofit/>
          </a:bodyPr>
          <a:lstStyle>
            <a:lvl1pPr marL="0" indent="0">
              <a:buNone/>
              <a:defRPr sz="2200"/>
            </a:lvl1pPr>
          </a:lstStyle>
          <a:p>
            <a:pPr lvl="0"/>
            <a:r>
              <a:rPr lang="en-GB" dirty="0"/>
              <a:t>Click to enter text content.</a:t>
            </a:r>
            <a:br>
              <a:rPr lang="en-GB" dirty="0"/>
            </a:br>
            <a:r>
              <a:rPr lang="en-US" dirty="0"/>
              <a:t>If text content appears too large please reduce the size of the font.</a:t>
            </a:r>
            <a:endParaRPr lang="en-GB" dirty="0"/>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14 September 2023</a:t>
            </a:fld>
            <a:endParaRPr lang="en-GB" dirty="0"/>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dirty="0"/>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dirty="0"/>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0" tIns="72000" rIns="0" bIns="72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dit subheading text</a:t>
            </a:r>
            <a:endParaRPr lang="en-GB" dirty="0"/>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r>
              <a:rPr lang="en-GB" dirty="0"/>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412455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userDrawn="1">
            <p:custDataLst>
              <p:tags r:id="rId1"/>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dirty="0"/>
              <a:t>Click to insert date</a:t>
            </a:r>
          </a:p>
        </p:txBody>
      </p:sp>
      <p:sp>
        <p:nvSpPr>
          <p:cNvPr id="12" name="Freeform: Shape 11">
            <a:extLst>
              <a:ext uri="{FF2B5EF4-FFF2-40B4-BE49-F238E27FC236}">
                <a16:creationId xmlns:a16="http://schemas.microsoft.com/office/drawing/2014/main" id="{458F29C9-8F7E-1D4B-3005-616565FA775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dirty="0"/>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ubtitle / presenter name</a:t>
            </a:r>
          </a:p>
        </p:txBody>
      </p:sp>
      <p:sp>
        <p:nvSpPr>
          <p:cNvPr id="10" name="Rectangle 9">
            <a:extLst>
              <a:ext uri="{FF2B5EF4-FFF2-40B4-BE49-F238E27FC236}">
                <a16:creationId xmlns:a16="http://schemas.microsoft.com/office/drawing/2014/main" id="{1811AA76-84DB-E6D7-7F67-E7CF37FEEDBC}"/>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chemeClr val="tx2"/>
                </a:solidFill>
                <a:latin typeface="+mn-lt"/>
              </a:rPr>
              <a:t>gsk.com</a:t>
            </a:r>
          </a:p>
        </p:txBody>
      </p:sp>
      <p:pic>
        <p:nvPicPr>
          <p:cNvPr id="14" name="Graphic 13">
            <a:extLst>
              <a:ext uri="{FF2B5EF4-FFF2-40B4-BE49-F238E27FC236}">
                <a16:creationId xmlns:a16="http://schemas.microsoft.com/office/drawing/2014/main" id="{F8155D66-36CA-D9A7-7EDA-E532E62376F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spTree>
    <p:extLst>
      <p:ext uri="{BB962C8B-B14F-4D97-AF65-F5344CB8AC3E}">
        <p14:creationId xmlns:p14="http://schemas.microsoft.com/office/powerpoint/2010/main" val="385931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dirty="0"/>
              <a:t>Click to enter text content. </a:t>
            </a: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dirty="0"/>
              <a:t>[Click here to insert image]</a:t>
            </a:r>
            <a:br>
              <a:rPr lang="en-GB" dirty="0"/>
            </a:br>
            <a:br>
              <a:rPr lang="en-GB" dirty="0"/>
            </a:br>
            <a:br>
              <a:rPr lang="en-GB" dirty="0"/>
            </a:br>
            <a:r>
              <a:rPr lang="en-GB" dirty="0"/>
              <a:t>[</a:t>
            </a:r>
            <a:r>
              <a:rPr lang="en-US" dirty="0"/>
              <a:t>The image can then be scaled within the frame by </a:t>
            </a:r>
            <a:br>
              <a:rPr lang="en-US" dirty="0"/>
            </a:br>
            <a:r>
              <a:rPr lang="en-US" dirty="0"/>
              <a:t>using the ‘Crop’ feature in the ‘Picture Format’ tab </a:t>
            </a:r>
            <a:br>
              <a:rPr lang="en-US" dirty="0"/>
            </a:br>
            <a:r>
              <a:rPr lang="en-US" dirty="0"/>
              <a:t>of the ribbon. Right click on image to add/edit alt text]</a:t>
            </a:r>
            <a:endParaRPr lang="en-GB" dirty="0"/>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dirty="0"/>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dirty="0"/>
              <a:t>[Click here to insert image]</a:t>
            </a:r>
            <a:br>
              <a:rPr lang="en-GB" dirty="0"/>
            </a:br>
            <a:br>
              <a:rPr lang="en-GB" dirty="0"/>
            </a:br>
            <a:br>
              <a:rPr lang="en-GB" dirty="0"/>
            </a:br>
            <a:r>
              <a:rPr lang="en-GB" dirty="0"/>
              <a:t>[</a:t>
            </a:r>
            <a:r>
              <a:rPr lang="en-US" dirty="0"/>
              <a:t>The image can then be scaled within the frame by </a:t>
            </a:r>
            <a:br>
              <a:rPr lang="en-US" dirty="0"/>
            </a:br>
            <a:r>
              <a:rPr lang="en-US" dirty="0"/>
              <a:t>using the ‘Crop’ feature in the ‘Picture Format’ tab </a:t>
            </a:r>
            <a:br>
              <a:rPr lang="en-US" dirty="0"/>
            </a:br>
            <a:r>
              <a:rPr lang="en-US" dirty="0"/>
              <a:t>of the ribbon. Right click on image to add/edit alt text]</a:t>
            </a:r>
            <a:endParaRPr lang="en-GB" dirty="0"/>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dirty="0"/>
              <a:t>Insert Source text</a:t>
            </a:r>
          </a:p>
        </p:txBody>
      </p:sp>
      <p:sp>
        <p:nvSpPr>
          <p:cNvPr id="5" name="Date Placeholder 4"/>
          <p:cNvSpPr>
            <a:spLocks noGrp="1"/>
          </p:cNvSpPr>
          <p:nvPr>
            <p:ph type="dt" sz="half" idx="30"/>
          </p:nvPr>
        </p:nvSpPr>
        <p:spPr/>
        <p:txBody>
          <a:bodyPr/>
          <a:lstStyle>
            <a:lvl1pPr algn="r">
              <a:defRPr/>
            </a:lvl1pPr>
          </a:lstStyle>
          <a:p>
            <a:fld id="{D35EAFE1-FE5F-44CC-825D-16EBF058F4AD}" type="datetime4">
              <a:rPr lang="en-GB" smtClean="0"/>
              <a:t>14 September 2023</a:t>
            </a:fld>
            <a:endParaRPr lang="en-GB" dirty="0"/>
          </a:p>
        </p:txBody>
      </p:sp>
      <p:sp>
        <p:nvSpPr>
          <p:cNvPr id="7" name="Footer Placeholder 6"/>
          <p:cNvSpPr>
            <a:spLocks noGrp="1"/>
          </p:cNvSpPr>
          <p:nvPr>
            <p:ph type="ftr" sz="quarter" idx="31"/>
          </p:nvPr>
        </p:nvSpPr>
        <p:spPr/>
        <p:txBody>
          <a:bodyPr/>
          <a:lstStyle>
            <a:lvl1pPr>
              <a:defRPr/>
            </a:lvl1pPr>
          </a:lstStyle>
          <a:p>
            <a:endParaRPr lang="en-GB" dirty="0"/>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dirty="0"/>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112721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dirty="0"/>
              <a:t>Click to enter text content. </a:t>
            </a:r>
            <a:r>
              <a:rPr lang="en-US" dirty="0"/>
              <a:t>If text content appears too large please reduce the size of the fon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endParaRPr lang="en-GB" dirty="0"/>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dirty="0"/>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dirty="0"/>
              <a:t>[Click here to insert image]</a:t>
            </a:r>
            <a:br>
              <a:rPr lang="en-GB" dirty="0"/>
            </a:br>
            <a:br>
              <a:rPr lang="en-GB" dirty="0"/>
            </a:br>
            <a:br>
              <a:rPr lang="en-GB" dirty="0"/>
            </a:br>
            <a:br>
              <a:rPr lang="en-GB" dirty="0"/>
            </a:br>
            <a:br>
              <a:rPr lang="en-GB" dirty="0"/>
            </a:br>
            <a:br>
              <a:rPr lang="en-GB" dirty="0"/>
            </a:br>
            <a:r>
              <a:rPr lang="en-GB" dirty="0"/>
              <a:t>[</a:t>
            </a:r>
            <a:r>
              <a:rPr lang="en-US" dirty="0"/>
              <a:t>The image can then be scaled within the frame by using the ‘Crop’ feature in the ‘Picture Format’ tab of the ribbon. Right click on image to add/edit alt text]</a:t>
            </a:r>
            <a:endParaRPr lang="en-GB" dirty="0"/>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dirty="0"/>
              <a:t>Insert Source text</a:t>
            </a:r>
          </a:p>
        </p:txBody>
      </p:sp>
      <p:sp>
        <p:nvSpPr>
          <p:cNvPr id="5" name="Date Placeholder 4"/>
          <p:cNvSpPr>
            <a:spLocks noGrp="1"/>
          </p:cNvSpPr>
          <p:nvPr>
            <p:ph type="dt" sz="half" idx="30"/>
          </p:nvPr>
        </p:nvSpPr>
        <p:spPr/>
        <p:txBody>
          <a:bodyPr/>
          <a:lstStyle>
            <a:lvl1pPr algn="r">
              <a:defRPr/>
            </a:lvl1pPr>
          </a:lstStyle>
          <a:p>
            <a:fld id="{B03DE9E3-FCC4-44C9-9C9C-3C907C61E776}" type="datetime4">
              <a:rPr lang="en-GB" smtClean="0"/>
              <a:t>14 September 2023</a:t>
            </a:fld>
            <a:endParaRPr lang="en-GB" dirty="0"/>
          </a:p>
        </p:txBody>
      </p:sp>
      <p:sp>
        <p:nvSpPr>
          <p:cNvPr id="7" name="Footer Placeholder 6"/>
          <p:cNvSpPr>
            <a:spLocks noGrp="1"/>
          </p:cNvSpPr>
          <p:nvPr>
            <p:ph type="ftr" sz="quarter" idx="31"/>
          </p:nvPr>
        </p:nvSpPr>
        <p:spPr/>
        <p:txBody>
          <a:bodyPr/>
          <a:lstStyle>
            <a:lvl1pPr>
              <a:defRPr/>
            </a:lvl1pPr>
          </a:lstStyle>
          <a:p>
            <a:endParaRPr lang="en-GB" dirty="0"/>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dirty="0"/>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6607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14 September 2023</a:t>
            </a:fld>
            <a:endParaRPr lang="en-GB" dirty="0"/>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dirty="0"/>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0" rIns="0">
            <a:noAutofit/>
          </a:bodyPr>
          <a:lstStyle>
            <a:lvl1pPr>
              <a:defRPr/>
            </a:lvl1pPr>
          </a:lstStyle>
          <a:p>
            <a:r>
              <a:rPr lang="en-GB" dirty="0"/>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105982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14 September 2023</a:t>
            </a:fld>
            <a:endParaRPr lang="en-GB" dirty="0"/>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dirty="0"/>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dirty="0"/>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0" rIns="0">
            <a:noAutofit/>
          </a:bodyPr>
          <a:lstStyle>
            <a:lvl1pPr>
              <a:defRPr/>
            </a:lvl1pPr>
          </a:lstStyle>
          <a:p>
            <a:r>
              <a:rPr lang="en-GB" dirty="0"/>
              <a:t>Click CHART icons to insert chart.</a:t>
            </a:r>
            <a:br>
              <a:rPr lang="en-GB" dirty="0"/>
            </a:br>
            <a:r>
              <a:rPr lang="en-US" dirty="0"/>
              <a:t>Please ensure your chart title, legend, x and y axis titles are minimum 12 </a:t>
            </a:r>
            <a:r>
              <a:rPr lang="en-US" dirty="0" err="1"/>
              <a:t>pt</a:t>
            </a:r>
            <a:r>
              <a:rPr lang="en-US" dirty="0"/>
              <a:t>, Arial black for accessibility. </a:t>
            </a:r>
          </a:p>
          <a:p>
            <a:endParaRPr lang="en-GB" dirty="0"/>
          </a:p>
          <a:p>
            <a:endParaRPr lang="en-GB" dirty="0"/>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98748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14 September 2023</a:t>
            </a:fld>
            <a:endParaRPr lang="en-GB" dirty="0"/>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31404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14 September 2023</a:t>
            </a:fld>
            <a:endParaRPr lang="en-GB" dirty="0"/>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dirty="0"/>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72000" rIns="0" bIns="72000" anchor="b">
            <a:noAutofit/>
          </a:bodyPr>
          <a:lstStyle>
            <a:lvl1pPr marL="0" indent="0">
              <a:buNone/>
              <a:defRPr sz="12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pic>
        <p:nvPicPr>
          <p:cNvPr id="6" name="Graphic 5">
            <a:extLst>
              <a:ext uri="{FF2B5EF4-FFF2-40B4-BE49-F238E27FC236}">
                <a16:creationId xmlns:a16="http://schemas.microsoft.com/office/drawing/2014/main" id="{A8F5241F-6CBA-AE82-8AEE-138E90E20FA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219299" y="6191252"/>
            <a:ext cx="1215582" cy="563804"/>
          </a:xfrm>
          <a:prstGeom prst="rect">
            <a:avLst/>
          </a:prstGeom>
        </p:spPr>
      </p:pic>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51722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14 September 2023</a:t>
            </a:fld>
            <a:endParaRPr lang="en-GB" dirty="0"/>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dirty="0"/>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dirty="0"/>
              <a:t>Insert Source text</a:t>
            </a:r>
          </a:p>
        </p:txBody>
      </p:sp>
    </p:spTree>
    <p:extLst>
      <p:ext uri="{BB962C8B-B14F-4D97-AF65-F5344CB8AC3E}">
        <p14:creationId xmlns:p14="http://schemas.microsoft.com/office/powerpoint/2010/main" val="144822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dirty="0"/>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3239966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Section Header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dirty="0"/>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152158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userDrawn="1">
            <p:custDataLst>
              <p:tags r:id="rId1"/>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dirty="0"/>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213875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dirty="0">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dirty="0">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dirty="0"/>
              <a:t>DECISION: To seek X’s [single point accountable decision maker] decision to implement A</a:t>
            </a:r>
            <a:br>
              <a:rPr lang="en-US" dirty="0"/>
            </a:br>
            <a:r>
              <a:rPr lang="en-US" dirty="0"/>
              <a:t>INPUT: To receive input to the proposed plan for B</a:t>
            </a:r>
            <a:br>
              <a:rPr lang="en-US" dirty="0"/>
            </a:br>
            <a:r>
              <a:rPr lang="en-US" dirty="0"/>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dirty="0"/>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dirty="0"/>
              <a:t>Up to 5 clear, focused objectives </a:t>
            </a:r>
            <a:br>
              <a:rPr lang="en-US" dirty="0"/>
            </a:br>
            <a:r>
              <a:rPr lang="en-US" dirty="0"/>
              <a:t>(</a:t>
            </a:r>
            <a:r>
              <a:rPr lang="en-US" dirty="0" err="1"/>
              <a:t>i</a:t>
            </a:r>
            <a:r>
              <a:rPr lang="en-US" dirty="0"/>
              <a:t>) for decision, </a:t>
            </a:r>
            <a:br>
              <a:rPr lang="en-US" dirty="0"/>
            </a:br>
            <a:r>
              <a:rPr lang="en-US" dirty="0"/>
              <a:t>(ii) for input </a:t>
            </a:r>
            <a:br>
              <a:rPr lang="en-US" dirty="0"/>
            </a:br>
            <a:r>
              <a:rPr lang="en-US" dirty="0"/>
              <a:t>(iii) for awareness</a:t>
            </a:r>
          </a:p>
        </p:txBody>
      </p:sp>
      <p:sp>
        <p:nvSpPr>
          <p:cNvPr id="52" name="Freeform: Shape 51">
            <a:extLst>
              <a:ext uri="{FF2B5EF4-FFF2-40B4-BE49-F238E27FC236}">
                <a16:creationId xmlns:a16="http://schemas.microsoft.com/office/drawing/2014/main" id="{4E683597-5ADE-F2A0-A01C-FD8E476ABB8B}"/>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dirty="0"/>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90183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dirty="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188793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dirty="0">
                <a:solidFill>
                  <a:schemeClr val="bg1"/>
                </a:solidFill>
              </a:rPr>
              <a:t>Do not use </a:t>
            </a:r>
            <a:br>
              <a:rPr lang="en-GB" sz="9600" kern="0" dirty="0">
                <a:solidFill>
                  <a:schemeClr val="bg1"/>
                </a:solidFill>
              </a:rPr>
            </a:br>
            <a:r>
              <a:rPr lang="en-GB" sz="9600" kern="0" dirty="0">
                <a:solidFill>
                  <a:schemeClr val="bg1"/>
                </a:solidFill>
              </a:rPr>
              <a:t>layouts that appear </a:t>
            </a:r>
            <a:br>
              <a:rPr lang="en-GB" sz="9600" kern="0" dirty="0">
                <a:solidFill>
                  <a:schemeClr val="bg1"/>
                </a:solidFill>
              </a:rPr>
            </a:br>
            <a:r>
              <a:rPr lang="en-GB" sz="9600" kern="0" dirty="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84481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SPADM">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C59E1C-A015-4BA4-AB7D-EC00F37B815F}"/>
              </a:ext>
            </a:extLst>
          </p:cNvPr>
          <p:cNvSpPr/>
          <p:nvPr userDrawn="1"/>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Objectives</a:t>
            </a:r>
          </a:p>
        </p:txBody>
      </p:sp>
      <p:sp>
        <p:nvSpPr>
          <p:cNvPr id="34" name="Rectangle 33">
            <a:extLst>
              <a:ext uri="{FF2B5EF4-FFF2-40B4-BE49-F238E27FC236}">
                <a16:creationId xmlns:a16="http://schemas.microsoft.com/office/drawing/2014/main" id="{D4EBA022-30B3-B17F-5D7C-3A3D869D35FA}"/>
              </a:ext>
            </a:extLst>
          </p:cNvPr>
          <p:cNvSpPr>
            <a:spLocks/>
          </p:cNvSpPr>
          <p:nvPr userDrawn="1"/>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Key questions</a:t>
            </a:r>
          </a:p>
        </p:txBody>
      </p:sp>
      <p:sp>
        <p:nvSpPr>
          <p:cNvPr id="35" name="Rectangle 34">
            <a:extLst>
              <a:ext uri="{FF2B5EF4-FFF2-40B4-BE49-F238E27FC236}">
                <a16:creationId xmlns:a16="http://schemas.microsoft.com/office/drawing/2014/main" id="{FF5A742C-A049-77AC-C2E5-4272D118CC96}"/>
              </a:ext>
            </a:extLst>
          </p:cNvPr>
          <p:cNvSpPr>
            <a:spLocks/>
          </p:cNvSpPr>
          <p:nvPr userDrawn="1"/>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Next steps</a:t>
            </a:r>
          </a:p>
        </p:txBody>
      </p:sp>
      <p:sp>
        <p:nvSpPr>
          <p:cNvPr id="21" name="Rectangle 20">
            <a:extLst>
              <a:ext uri="{FF2B5EF4-FFF2-40B4-BE49-F238E27FC236}">
                <a16:creationId xmlns:a16="http://schemas.microsoft.com/office/drawing/2014/main" id="{E66507E6-44A7-B4B5-33F1-9F0C0DC0FDE1}"/>
              </a:ext>
            </a:extLst>
          </p:cNvPr>
          <p:cNvSpPr/>
          <p:nvPr userDrawn="1"/>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rPr>
              <a:t>Owner</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p:txBody>
          <a:bodyPr/>
          <a:lstStyle/>
          <a:p>
            <a:endParaRPr lang="en-GB" dirty="0"/>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p>
            <a:fld id="{346B58B4-0D72-4C8B-9355-854FB5782278}" type="datetime4">
              <a:rPr lang="en-GB" smtClean="0"/>
              <a:t>14 September 2023</a:t>
            </a:fld>
            <a:endParaRPr lang="en-GB" dirty="0"/>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dirty="0"/>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0" name="Text Placeholder 9">
            <a:extLst>
              <a:ext uri="{FF2B5EF4-FFF2-40B4-BE49-F238E27FC236}">
                <a16:creationId xmlns:a16="http://schemas.microsoft.com/office/drawing/2014/main" id="{8E19B5E4-F2A8-7F44-855D-F41DDE3B3D9F}"/>
              </a:ext>
            </a:extLst>
          </p:cNvPr>
          <p:cNvSpPr>
            <a:spLocks noGrp="1"/>
          </p:cNvSpPr>
          <p:nvPr>
            <p:ph type="body" sz="quarter" idx="34" hasCustomPrompt="1"/>
          </p:nvPr>
        </p:nvSpPr>
        <p:spPr>
          <a:xfrm>
            <a:off x="8172450" y="694948"/>
            <a:ext cx="3649661" cy="352801"/>
          </a:xfrm>
        </p:spPr>
        <p:txBody>
          <a:bodyPr lIns="0" tIns="0" rIns="0" bIns="18000" anchor="b" anchorCtr="0">
            <a:noAutofit/>
          </a:bodyPr>
          <a:lstStyle>
            <a:lvl1pPr marL="0" indent="0" algn="r">
              <a:buNone/>
              <a:defRPr sz="1400" b="0">
                <a:solidFill>
                  <a:schemeClr val="tx1"/>
                </a:solidFill>
              </a:defRPr>
            </a:lvl1pPr>
          </a:lstStyle>
          <a:p>
            <a:pPr lvl="0"/>
            <a:r>
              <a:rPr lang="en-US" dirty="0"/>
              <a:t>Click to insert date of session </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365126" y="1777158"/>
            <a:ext cx="1695450" cy="926921"/>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dirty="0"/>
              <a:t>Up to 5 clear, focused objectives </a:t>
            </a:r>
            <a:br>
              <a:rPr lang="en-US" dirty="0"/>
            </a:br>
            <a:r>
              <a:rPr lang="en-US" dirty="0"/>
              <a:t>(</a:t>
            </a:r>
            <a:r>
              <a:rPr lang="en-US" dirty="0" err="1"/>
              <a:t>i</a:t>
            </a:r>
            <a:r>
              <a:rPr lang="en-US" dirty="0"/>
              <a:t>) for decision, </a:t>
            </a:r>
            <a:br>
              <a:rPr lang="en-US" dirty="0"/>
            </a:br>
            <a:r>
              <a:rPr lang="en-US" dirty="0"/>
              <a:t>(ii) for input </a:t>
            </a:r>
            <a:br>
              <a:rPr lang="en-US" dirty="0"/>
            </a:br>
            <a:r>
              <a:rPr lang="en-US" dirty="0"/>
              <a:t>(iii) for awareness</a:t>
            </a:r>
          </a:p>
        </p:txBody>
      </p:sp>
      <p:sp>
        <p:nvSpPr>
          <p:cNvPr id="25" name="Rectangle 24">
            <a:extLst>
              <a:ext uri="{FF2B5EF4-FFF2-40B4-BE49-F238E27FC236}">
                <a16:creationId xmlns:a16="http://schemas.microsoft.com/office/drawing/2014/main" id="{1BD6FC89-B057-E6C5-C8EA-1FC8CB31B6CA}"/>
              </a:ext>
            </a:extLst>
          </p:cNvPr>
          <p:cNvSpPr/>
          <p:nvPr userDrawn="1"/>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dirty="0">
                <a:solidFill>
                  <a:schemeClr val="tx2"/>
                </a:solidFill>
              </a:rPr>
              <a:t>Session date:</a:t>
            </a:r>
          </a:p>
        </p:txBody>
      </p:sp>
      <p:sp>
        <p:nvSpPr>
          <p:cNvPr id="24" name="Text Placeholder 6">
            <a:extLst>
              <a:ext uri="{FF2B5EF4-FFF2-40B4-BE49-F238E27FC236}">
                <a16:creationId xmlns:a16="http://schemas.microsoft.com/office/drawing/2014/main" id="{B166E02B-F260-FEAF-DDEB-67922AA11E6E}"/>
              </a:ext>
            </a:extLst>
          </p:cNvPr>
          <p:cNvSpPr>
            <a:spLocks noGrp="1"/>
          </p:cNvSpPr>
          <p:nvPr userDrawn="1">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dirty="0"/>
              <a:t>Up to 5 key questions to be addressed at the meeting</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54" name="Text Placeholder 53">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dirty="0"/>
              <a:t>DECISION: To seek X’s [single point accountable decision maker] decision to implement A</a:t>
            </a:r>
            <a:br>
              <a:rPr lang="en-US" dirty="0"/>
            </a:br>
            <a:r>
              <a:rPr lang="en-US" dirty="0"/>
              <a:t>INPUT: To receive input to the proposed plan for B</a:t>
            </a:r>
            <a:br>
              <a:rPr lang="en-US" dirty="0"/>
            </a:br>
            <a:r>
              <a:rPr lang="en-US" dirty="0"/>
              <a:t>AWARENESS: To update XXX regarding C</a:t>
            </a:r>
          </a:p>
        </p:txBody>
      </p:sp>
      <p:sp>
        <p:nvSpPr>
          <p:cNvPr id="55" name="Text Placeholder 54">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778690"/>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dirty="0"/>
              <a:t>Does XXX have further input on the proposals set out or require additional information?</a:t>
            </a:r>
            <a:br>
              <a:rPr lang="en-US" dirty="0"/>
            </a:br>
            <a:r>
              <a:rPr lang="en-US" dirty="0"/>
              <a:t>Is XXX supportive of the recommendation to x, y, z?</a:t>
            </a:r>
            <a:br>
              <a:rPr lang="en-US" dirty="0"/>
            </a:br>
            <a:r>
              <a:rPr lang="en-US" dirty="0"/>
              <a:t>Does XXX support the approach outlined to x, y, z?</a:t>
            </a:r>
          </a:p>
        </p:txBody>
      </p:sp>
      <p:sp>
        <p:nvSpPr>
          <p:cNvPr id="56" name="Text Placeholder 55">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0405" y="4249806"/>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dirty="0"/>
              <a:t>Key steps following XXX review / decision</a:t>
            </a:r>
          </a:p>
        </p:txBody>
      </p:sp>
      <p:sp>
        <p:nvSpPr>
          <p:cNvPr id="57" name="Text Placeholder 56">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720922"/>
            <a:ext cx="9557738" cy="3633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dirty="0"/>
              <a:t>Single person accountable for this topic / paper</a:t>
            </a:r>
          </a:p>
        </p:txBody>
      </p:sp>
    </p:spTree>
    <p:custDataLst>
      <p:tags r:id="rId1"/>
    </p:custDataLst>
    <p:extLst>
      <p:ext uri="{BB962C8B-B14F-4D97-AF65-F5344CB8AC3E}">
        <p14:creationId xmlns:p14="http://schemas.microsoft.com/office/powerpoint/2010/main" val="356257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14 September 2023</a:t>
            </a:fld>
            <a:endParaRPr lang="en-GB" dirty="0"/>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dirty="0"/>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dirty="0"/>
              <a:t>Agenda point 1, add text here.</a:t>
            </a:r>
            <a:br>
              <a:rPr lang="en-GB" dirty="0"/>
            </a:br>
            <a:r>
              <a:rPr lang="en-GB" dirty="0"/>
              <a:t>Agenda point 2, add text here.</a:t>
            </a:r>
            <a:br>
              <a:rPr lang="en-GB" dirty="0"/>
            </a:br>
            <a:r>
              <a:rPr lang="en-GB" dirty="0"/>
              <a:t>Agenda point 3, add text here.</a:t>
            </a:r>
            <a:br>
              <a:rPr lang="en-GB" dirty="0"/>
            </a:br>
            <a:r>
              <a:rPr lang="en-GB" dirty="0"/>
              <a:t>Agenda point 4, add text here.</a:t>
            </a:r>
            <a:br>
              <a:rPr lang="en-GB" dirty="0"/>
            </a:br>
            <a:r>
              <a:rPr lang="en-GB" dirty="0"/>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endParaRPr lang="en-US" dirty="0"/>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368047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dirty="0"/>
              <a:t>Click to enter TEXT content ONLY.</a:t>
            </a:r>
            <a:br>
              <a:rPr lang="en-US" dirty="0"/>
            </a:br>
            <a:r>
              <a:rPr lang="en-US" dirty="0"/>
              <a:t>If text content appears outside of grey holder please reduce the size of the fo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14 September 2023</a:t>
            </a:fld>
            <a:endParaRPr lang="en-GB" dirty="0"/>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dirty="0"/>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dirty="0"/>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33140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14 September 2023</a:t>
            </a:fld>
            <a:endParaRPr lang="en-GB" dirty="0"/>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dirty="0"/>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dirty="0"/>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dirty="0"/>
              <a:t>Click to enter TEXT content ONLY. </a:t>
            </a:r>
            <a:br>
              <a:rPr lang="en-US" dirty="0"/>
            </a:br>
            <a:r>
              <a:rPr lang="en-US" dirty="0"/>
              <a:t>If text content appears too large please reduce the size of this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331722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0" tIns="72000" rIns="0" bIns="72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dirty="0"/>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dirty="0"/>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14 September 2023</a:t>
            </a:fld>
            <a:endParaRPr lang="en-GB" dirty="0"/>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dirty="0"/>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dirty="0"/>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dirty="0"/>
              <a:t>Click to edit TEXT content ONLY.</a:t>
            </a:r>
            <a:br>
              <a:rPr lang="en-US" dirty="0"/>
            </a:br>
            <a:r>
              <a:rPr lang="en-US" dirty="0"/>
              <a:t>If text content appears too large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351233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585"/>
            </a:avLst>
          </a:prstGeom>
          <a:solidFill>
            <a:schemeClr val="bg1">
              <a:lumMod val="95000"/>
            </a:schemeClr>
          </a:solidFill>
          <a:ln>
            <a:noFill/>
          </a:ln>
        </p:spPr>
        <p:txBody>
          <a:bodyPr wrap="square">
            <a:noAutofit/>
          </a:bodyPr>
          <a:lstStyle>
            <a:lvl1pPr>
              <a:defRPr/>
            </a:lvl1pPr>
          </a:lstStyle>
          <a:p>
            <a:pPr lvl="0"/>
            <a:r>
              <a:rPr lang="en-US" dirty="0"/>
              <a:t>Click to edit TEXT content ONLY. </a:t>
            </a:r>
            <a:br>
              <a:rPr lang="en-US" dirty="0"/>
            </a:br>
            <a:r>
              <a:rPr lang="en-US" dirty="0"/>
              <a:t>If text content appears outside of the grey placeholder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14 September 2023</a:t>
            </a:fld>
            <a:endParaRPr lang="en-GB" dirty="0"/>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dirty="0"/>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dirty="0"/>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0" tIns="234000" rIns="0" bIns="180000">
            <a:noAutofit/>
          </a:bodyPr>
          <a:lstStyle>
            <a:lvl1pPr>
              <a:defRPr/>
            </a:lvl1pPr>
          </a:lstStyle>
          <a:p>
            <a:pPr lvl="0"/>
            <a:r>
              <a:rPr lang="en-US" dirty="0"/>
              <a:t>Click to enter TEXT content ONLY.</a:t>
            </a:r>
            <a:br>
              <a:rPr lang="en-US" dirty="0"/>
            </a:br>
            <a:r>
              <a:rPr lang="en-US" dirty="0"/>
              <a:t>If text content appears too large please reduce the size of the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3706052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33"/>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25" imgH="424" progId="TCLayout.ActiveDocument.1">
                  <p:embed/>
                </p:oleObj>
              </mc:Choice>
              <mc:Fallback>
                <p:oleObj name="think-cell Slide" r:id="rId34"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dirty="0"/>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Autofit/>
          </a:bodyPr>
          <a:lstStyle>
            <a:lvl1pPr algn="r">
              <a:defRPr sz="1000">
                <a:solidFill>
                  <a:schemeClr val="tx1"/>
                </a:solidFill>
              </a:defRPr>
            </a:lvl1pPr>
          </a:lstStyle>
          <a:p>
            <a:fld id="{9F9F533D-B52E-4A2F-BF72-0ADD2D94BD75}" type="slidenum">
              <a:rPr lang="en-GB" smtClean="0"/>
              <a:pPr/>
              <a:t>‹#›</a:t>
            </a:fld>
            <a:endParaRPr lang="en-GB" dirty="0"/>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dirty="0"/>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Autofit/>
          </a:bodyPr>
          <a:lstStyle>
            <a:lvl1pPr algn="r">
              <a:defRPr sz="1000">
                <a:solidFill>
                  <a:schemeClr val="tx1"/>
                </a:solidFill>
              </a:defRPr>
            </a:lvl1pPr>
          </a:lstStyle>
          <a:p>
            <a:fld id="{346B58B4-0D72-4C8B-9355-854FB5782278}" type="datetime4">
              <a:rPr lang="en-GB" smtClean="0"/>
              <a:t>14 September 2023</a:t>
            </a:fld>
            <a:endParaRPr lang="en-GB" dirty="0"/>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Autofit/>
          </a:bodyPr>
          <a:lstStyle/>
          <a:p>
            <a:pPr lvl="0"/>
            <a:r>
              <a:rPr lang="en-GB" dirty="0"/>
              <a:t>Click to enter text content.</a:t>
            </a:r>
            <a:br>
              <a:rPr lang="en-GB" dirty="0"/>
            </a:br>
            <a:r>
              <a:rPr lang="en-GB" dirty="0"/>
              <a:t>To increase bullet level, select your text &gt; press ‘Tab’.</a:t>
            </a:r>
            <a:br>
              <a:rPr lang="en-GB" dirty="0"/>
            </a:br>
            <a:r>
              <a:rPr lang="en-GB" dirty="0"/>
              <a:t>To decrease bullet level, select your text &gt; press ‘Shift’ + ‘Tab’.</a:t>
            </a:r>
            <a:br>
              <a:rPr lang="en-GB" dirty="0"/>
            </a:br>
            <a:r>
              <a:rPr lang="en-GB" dirty="0"/>
              <a:t>To remove bullet levels, select your text &gt; right click &gt; press ‘bullet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a:p>
            <a:pPr lvl="4"/>
            <a:endParaRPr lang="en-GB" dirty="0"/>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r:embed="rId36" cstate="print">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426075628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82" r:id="rId3"/>
    <p:sldLayoutId id="2147483785" r:id="rId4"/>
    <p:sldLayoutId id="2147483787" r:id="rId5"/>
    <p:sldLayoutId id="2147483663" r:id="rId6"/>
    <p:sldLayoutId id="2147483664" r:id="rId7"/>
    <p:sldLayoutId id="2147483665" r:id="rId8"/>
    <p:sldLayoutId id="2147483668" r:id="rId9"/>
    <p:sldLayoutId id="2147483786" r:id="rId10"/>
    <p:sldLayoutId id="2147483669" r:id="rId11"/>
    <p:sldLayoutId id="2147483670" r:id="rId12"/>
    <p:sldLayoutId id="2147483671" r:id="rId13"/>
    <p:sldLayoutId id="2147483728" r:id="rId14"/>
    <p:sldLayoutId id="2147483730" r:id="rId15"/>
    <p:sldLayoutId id="2147483765" r:id="rId16"/>
    <p:sldLayoutId id="2147483773" r:id="rId17"/>
    <p:sldLayoutId id="2147483774" r:id="rId18"/>
    <p:sldLayoutId id="2147483766" r:id="rId19"/>
    <p:sldLayoutId id="2147483673" r:id="rId20"/>
    <p:sldLayoutId id="2147483771" r:id="rId21"/>
    <p:sldLayoutId id="2147483768" r:id="rId22"/>
    <p:sldLayoutId id="2147483767" r:id="rId23"/>
    <p:sldLayoutId id="2147483776" r:id="rId24"/>
    <p:sldLayoutId id="2147483763" r:id="rId25"/>
    <p:sldLayoutId id="2147483675" r:id="rId26"/>
    <p:sldLayoutId id="2147483777" r:id="rId27"/>
    <p:sldLayoutId id="2147483788" r:id="rId28"/>
    <p:sldLayoutId id="2147483778" r:id="rId29"/>
    <p:sldLayoutId id="2147483762" r:id="rId30"/>
    <p:sldLayoutId id="2147483764"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A6A6A6"/>
          </p15:clr>
        </p15:guide>
        <p15:guide id="2" pos="7680" userDrawn="1">
          <p15:clr>
            <a:srgbClr val="A6A6A6"/>
          </p15:clr>
        </p15:guide>
        <p15:guide id="3" pos="230" userDrawn="1">
          <p15:clr>
            <a:srgbClr val="A6A6A6"/>
          </p15:clr>
        </p15:guide>
        <p15:guide id="4" pos="1301" userDrawn="1">
          <p15:clr>
            <a:srgbClr val="A6A6A6"/>
          </p15:clr>
        </p15:guide>
        <p15:guide id="5" pos="1461" userDrawn="1">
          <p15:clr>
            <a:srgbClr val="A6A6A6"/>
          </p15:clr>
        </p15:guide>
        <p15:guide id="6" pos="2531" userDrawn="1">
          <p15:clr>
            <a:srgbClr val="A6A6A6"/>
          </p15:clr>
        </p15:guide>
        <p15:guide id="7" pos="2690" userDrawn="1">
          <p15:clr>
            <a:srgbClr val="A6A6A6"/>
          </p15:clr>
        </p15:guide>
        <p15:guide id="8" pos="3759" userDrawn="1">
          <p15:clr>
            <a:srgbClr val="A6A6A6"/>
          </p15:clr>
        </p15:guide>
        <p15:guide id="9" pos="3920" userDrawn="1">
          <p15:clr>
            <a:srgbClr val="A6A6A6"/>
          </p15:clr>
        </p15:guide>
        <p15:guide id="10" pos="4989" userDrawn="1">
          <p15:clr>
            <a:srgbClr val="A6A6A6"/>
          </p15:clr>
        </p15:guide>
        <p15:guide id="11" pos="5148" userDrawn="1">
          <p15:clr>
            <a:srgbClr val="A6A6A6"/>
          </p15:clr>
        </p15:guide>
        <p15:guide id="12" pos="6218" userDrawn="1">
          <p15:clr>
            <a:srgbClr val="A6A6A6"/>
          </p15:clr>
        </p15:guide>
        <p15:guide id="13" pos="6378" userDrawn="1">
          <p15:clr>
            <a:srgbClr val="A6A6A6"/>
          </p15:clr>
        </p15:guide>
        <p15:guide id="14" pos="7449" userDrawn="1">
          <p15:clr>
            <a:srgbClr val="A6A6A6"/>
          </p15:clr>
        </p15:guide>
        <p15:guide id="15" orient="horz" userDrawn="1">
          <p15:clr>
            <a:srgbClr val="A6A6A6"/>
          </p15:clr>
        </p15:guide>
        <p15:guide id="16" orient="horz" pos="4315" userDrawn="1">
          <p15:clr>
            <a:srgbClr val="A6A6A6"/>
          </p15:clr>
        </p15:guide>
        <p15:guide id="17" orient="horz" pos="153" userDrawn="1">
          <p15:clr>
            <a:srgbClr val="A6A6A6"/>
          </p15:clr>
        </p15:guide>
        <p15:guide id="18" orient="horz" pos="686" userDrawn="1">
          <p15:clr>
            <a:srgbClr val="A6A6A6"/>
          </p15:clr>
        </p15:guide>
        <p15:guide id="19" orient="horz" pos="821" userDrawn="1">
          <p15:clr>
            <a:srgbClr val="A6A6A6"/>
          </p15:clr>
        </p15:guide>
        <p15:guide id="20" orient="horz" pos="1323" userDrawn="1">
          <p15:clr>
            <a:srgbClr val="A6A6A6"/>
          </p15:clr>
        </p15:guide>
        <p15:guide id="21" orient="horz" pos="2330" userDrawn="1">
          <p15:clr>
            <a:srgbClr val="A6A6A6"/>
          </p15:clr>
        </p15:guide>
        <p15:guide id="22" orient="horz" pos="3335" userDrawn="1">
          <p15:clr>
            <a:srgbClr val="A6A6A6"/>
          </p15:clr>
        </p15:guide>
        <p15:guide id="23" orient="horz" pos="3837" userDrawn="1">
          <p15:clr>
            <a:srgbClr val="A6A6A6"/>
          </p15:clr>
        </p15:guide>
        <p15:guide id="24" orient="horz" pos="4166" userDrawn="1">
          <p15:clr>
            <a:srgbClr val="A6A6A6"/>
          </p15:clr>
        </p15:guide>
        <p15:guide id="25" orient="horz" pos="1827" userDrawn="1">
          <p15:clr>
            <a:srgbClr val="A4A3A4"/>
          </p15:clr>
        </p15:guide>
        <p15:guide id="26" orient="horz" pos="2832" userDrawn="1">
          <p15:clr>
            <a:srgbClr val="A4A3A4"/>
          </p15:clr>
        </p15:guide>
        <p15:guide id="27" orient="horz" pos="399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A06DED73-881E-4DA6-8B38-9D3DA76DA338}"/>
              </a:ext>
            </a:extLst>
          </p:cNvPr>
          <p:cNvSpPr/>
          <p:nvPr/>
        </p:nvSpPr>
        <p:spPr bwMode="auto">
          <a:xfrm>
            <a:off x="3131061" y="4292600"/>
            <a:ext cx="8424227" cy="970936"/>
          </a:xfrm>
          <a:prstGeom prst="roundRect">
            <a:avLst>
              <a:gd name="adj" fmla="val 1099"/>
            </a:avLst>
          </a:prstGeom>
          <a:noFill/>
          <a:ln w="19050">
            <a:solidFill>
              <a:srgbClr val="F36633"/>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dirty="0" err="1">
              <a:solidFill>
                <a:schemeClr val="tx1"/>
              </a:solidFill>
            </a:endParaRPr>
          </a:p>
        </p:txBody>
      </p:sp>
      <p:sp>
        <p:nvSpPr>
          <p:cNvPr id="3" name="Date Placeholder 2">
            <a:extLst>
              <a:ext uri="{FF2B5EF4-FFF2-40B4-BE49-F238E27FC236}">
                <a16:creationId xmlns:a16="http://schemas.microsoft.com/office/drawing/2014/main" id="{77A2C089-E93D-4D14-B616-3EF4D41E9B9A}"/>
              </a:ext>
            </a:extLst>
          </p:cNvPr>
          <p:cNvSpPr>
            <a:spLocks noGrp="1"/>
          </p:cNvSpPr>
          <p:nvPr>
            <p:ph type="dt" sz="half" idx="19"/>
          </p:nvPr>
        </p:nvSpPr>
        <p:spPr/>
        <p:txBody>
          <a:bodyPr/>
          <a:lstStyle/>
          <a:p>
            <a:fld id="{397F4CD0-83C1-4C99-A2BD-6DA4A1CC9D00}" type="datetime4">
              <a:rPr lang="en-GB" smtClean="0"/>
              <a:t>14 September 2023</a:t>
            </a:fld>
            <a:endParaRPr lang="en-GB" dirty="0"/>
          </a:p>
        </p:txBody>
      </p:sp>
      <p:sp>
        <p:nvSpPr>
          <p:cNvPr id="4" name="Slide Number Placeholder 3">
            <a:extLst>
              <a:ext uri="{FF2B5EF4-FFF2-40B4-BE49-F238E27FC236}">
                <a16:creationId xmlns:a16="http://schemas.microsoft.com/office/drawing/2014/main" id="{7E5D5201-937A-46E8-8809-6CA09667EDCE}"/>
              </a:ext>
            </a:extLst>
          </p:cNvPr>
          <p:cNvSpPr>
            <a:spLocks noGrp="1"/>
          </p:cNvSpPr>
          <p:nvPr>
            <p:ph type="sldNum" sz="quarter" idx="21"/>
          </p:nvPr>
        </p:nvSpPr>
        <p:spPr/>
        <p:txBody>
          <a:bodyPr/>
          <a:lstStyle/>
          <a:p>
            <a:fld id="{9F9F533D-B52E-4A2F-BF72-0ADD2D94BD75}" type="slidenum">
              <a:rPr lang="en-GB" smtClean="0"/>
              <a:pPr/>
              <a:t>1</a:t>
            </a:fld>
            <a:endParaRPr lang="en-GB" dirty="0"/>
          </a:p>
        </p:txBody>
      </p:sp>
      <p:sp>
        <p:nvSpPr>
          <p:cNvPr id="9" name="Rectangle 8">
            <a:extLst>
              <a:ext uri="{FF2B5EF4-FFF2-40B4-BE49-F238E27FC236}">
                <a16:creationId xmlns:a16="http://schemas.microsoft.com/office/drawing/2014/main" id="{0B52A59A-E33D-4EDA-B8EE-87813EA2A926}"/>
              </a:ext>
            </a:extLst>
          </p:cNvPr>
          <p:cNvSpPr/>
          <p:nvPr/>
        </p:nvSpPr>
        <p:spPr bwMode="auto">
          <a:xfrm>
            <a:off x="944880" y="924560"/>
            <a:ext cx="3159760" cy="4064000"/>
          </a:xfrm>
          <a:prstGeom prst="rect">
            <a:avLst/>
          </a:prstGeom>
          <a:solidFill>
            <a:schemeClr val="bg1"/>
          </a:solidFill>
          <a:ln>
            <a:noFill/>
            <a:headEnd/>
            <a:tailEnd/>
          </a:ln>
          <a:effectLst>
            <a:outerShdw blurRad="127000" sx="107000" sy="107000" algn="ctr" rotWithShape="0">
              <a:schemeClr val="tx1">
                <a:alpha val="23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dirty="0" err="1">
              <a:solidFill>
                <a:schemeClr val="tx1"/>
              </a:solidFill>
            </a:endParaRPr>
          </a:p>
        </p:txBody>
      </p:sp>
      <p:pic>
        <p:nvPicPr>
          <p:cNvPr id="10" name="Picture 9" descr="A person in a suit&#10;&#10;Description automatically generated with medium confidence">
            <a:extLst>
              <a:ext uri="{FF2B5EF4-FFF2-40B4-BE49-F238E27FC236}">
                <a16:creationId xmlns:a16="http://schemas.microsoft.com/office/drawing/2014/main" id="{ACE2507E-7332-4F2D-AC41-924D2E3620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0647" y="751903"/>
            <a:ext cx="3512024" cy="3921761"/>
          </a:xfrm>
          <a:prstGeom prst="rect">
            <a:avLst/>
          </a:prstGeom>
        </p:spPr>
      </p:pic>
      <p:sp>
        <p:nvSpPr>
          <p:cNvPr id="11" name="Rectangle 10">
            <a:extLst>
              <a:ext uri="{FF2B5EF4-FFF2-40B4-BE49-F238E27FC236}">
                <a16:creationId xmlns:a16="http://schemas.microsoft.com/office/drawing/2014/main" id="{FEFAD35B-EA29-4D4F-9DA9-6F71E5660944}"/>
              </a:ext>
            </a:extLst>
          </p:cNvPr>
          <p:cNvSpPr/>
          <p:nvPr/>
        </p:nvSpPr>
        <p:spPr bwMode="auto">
          <a:xfrm rot="5400000">
            <a:off x="-964565" y="2862581"/>
            <a:ext cx="3921761" cy="45719"/>
          </a:xfrm>
          <a:prstGeom prst="rect">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dirty="0" err="1">
              <a:solidFill>
                <a:schemeClr val="tx1"/>
              </a:solidFill>
            </a:endParaRPr>
          </a:p>
        </p:txBody>
      </p:sp>
      <p:sp>
        <p:nvSpPr>
          <p:cNvPr id="14" name="TextBox 13">
            <a:extLst>
              <a:ext uri="{FF2B5EF4-FFF2-40B4-BE49-F238E27FC236}">
                <a16:creationId xmlns:a16="http://schemas.microsoft.com/office/drawing/2014/main" id="{038D8666-C898-4B31-AFAF-90252C98929E}"/>
              </a:ext>
            </a:extLst>
          </p:cNvPr>
          <p:cNvSpPr txBox="1"/>
          <p:nvPr/>
        </p:nvSpPr>
        <p:spPr>
          <a:xfrm>
            <a:off x="4178873" y="857240"/>
            <a:ext cx="6982778" cy="3416320"/>
          </a:xfrm>
          <a:prstGeom prst="rect">
            <a:avLst/>
          </a:prstGeom>
          <a:noFill/>
        </p:spPr>
        <p:txBody>
          <a:bodyPr wrap="square">
            <a:spAutoFit/>
          </a:bodyPr>
          <a:lstStyle/>
          <a:p>
            <a:pPr algn="just"/>
            <a:r>
              <a:rPr lang="en-US" sz="1800" dirty="0">
                <a:latin typeface="Segoe UI" panose="020B0502040204020203" pitchFamily="34" charset="0"/>
                <a:cs typeface="Segoe UI" panose="020B0502040204020203" pitchFamily="34" charset="0"/>
              </a:rPr>
              <a:t>Mahaboob Basha has joined us as a Manager Data Analytics and brings over 10 years of experience in the life sciences field. He can provide insights into Phase I, Phase II, and Phase III data to help with decision-making in clinical trials, the commercial life sciences industry, and operational performance metrics (</a:t>
            </a:r>
            <a:r>
              <a:rPr lang="en-US" sz="1800" dirty="0" err="1">
                <a:latin typeface="Segoe UI" panose="020B0502040204020203" pitchFamily="34" charset="0"/>
                <a:cs typeface="Segoe UI" panose="020B0502040204020203" pitchFamily="34" charset="0"/>
              </a:rPr>
              <a:t>CoE</a:t>
            </a:r>
            <a:r>
              <a:rPr lang="en-US" sz="1800" dirty="0">
                <a:latin typeface="Segoe UI" panose="020B0502040204020203" pitchFamily="34" charset="0"/>
                <a:cs typeface="Segoe UI" panose="020B0502040204020203" pitchFamily="34" charset="0"/>
              </a:rPr>
              <a:t>). He was connected to </a:t>
            </a:r>
            <a:r>
              <a:rPr lang="en-US" sz="1800" dirty="0" err="1">
                <a:latin typeface="Segoe UI" panose="020B0502040204020203" pitchFamily="34" charset="0"/>
                <a:cs typeface="Segoe UI" panose="020B0502040204020203" pitchFamily="34" charset="0"/>
              </a:rPr>
              <a:t>Labcorp</a:t>
            </a:r>
            <a:r>
              <a:rPr lang="en-US" sz="1800" dirty="0">
                <a:latin typeface="Segoe UI" panose="020B0502040204020203" pitchFamily="34" charset="0"/>
                <a:cs typeface="Segoe UI" panose="020B0502040204020203" pitchFamily="34" charset="0"/>
              </a:rPr>
              <a:t>, IQVIA, </a:t>
            </a:r>
            <a:r>
              <a:rPr lang="en-US" sz="1800" dirty="0" err="1">
                <a:latin typeface="Segoe UI" panose="020B0502040204020203" pitchFamily="34" charset="0"/>
                <a:cs typeface="Segoe UI" panose="020B0502040204020203" pitchFamily="34" charset="0"/>
              </a:rPr>
              <a:t>Quartesian</a:t>
            </a:r>
            <a:r>
              <a:rPr lang="en-US" sz="1800" dirty="0">
                <a:latin typeface="Segoe UI" panose="020B0502040204020203" pitchFamily="34" charset="0"/>
                <a:cs typeface="Segoe UI" panose="020B0502040204020203" pitchFamily="34" charset="0"/>
              </a:rPr>
              <a:t>, and CIAI (Commercial life sciences start-up) before joining GSK. He enjoys delving into business problems and developing one-of-a-kind, user-centric solutions using BI tools and AI/ML approaches. Furthermore, using AI/ML methodologies, a proof of concept of facial signature and voice-based BI tool integrations was successfully built. He also enjoys cricket, chess, and reading.</a:t>
            </a:r>
          </a:p>
        </p:txBody>
      </p:sp>
      <p:sp>
        <p:nvSpPr>
          <p:cNvPr id="13" name="TextBox 12">
            <a:extLst>
              <a:ext uri="{FF2B5EF4-FFF2-40B4-BE49-F238E27FC236}">
                <a16:creationId xmlns:a16="http://schemas.microsoft.com/office/drawing/2014/main" id="{943A6F95-8628-44B1-A5EA-107D90288CDD}"/>
              </a:ext>
            </a:extLst>
          </p:cNvPr>
          <p:cNvSpPr txBox="1"/>
          <p:nvPr/>
        </p:nvSpPr>
        <p:spPr>
          <a:xfrm>
            <a:off x="10809411" y="74965"/>
            <a:ext cx="1230188" cy="534641"/>
          </a:xfrm>
          <a:prstGeom prst="rect">
            <a:avLst/>
          </a:prstGeom>
          <a:solidFill>
            <a:srgbClr val="FFFF00"/>
          </a:solidFill>
        </p:spPr>
        <p:txBody>
          <a:bodyPr wrap="none" lIns="180000" tIns="180000" rIns="180000" bIns="180000" rtlCol="0">
            <a:normAutofit fontScale="85000" lnSpcReduction="20000"/>
          </a:bodyPr>
          <a:lstStyle/>
          <a:p>
            <a:pPr algn="l">
              <a:spcBef>
                <a:spcPts val="300"/>
              </a:spcBef>
              <a:spcAft>
                <a:spcPts val="300"/>
              </a:spcAft>
              <a:buClr>
                <a:schemeClr val="tx2"/>
              </a:buClr>
              <a:buSzPct val="110000"/>
            </a:pPr>
            <a:r>
              <a:rPr lang="en-US" sz="1600" dirty="0"/>
              <a:t>Option 1</a:t>
            </a:r>
          </a:p>
        </p:txBody>
      </p:sp>
    </p:spTree>
    <p:extLst>
      <p:ext uri="{BB962C8B-B14F-4D97-AF65-F5344CB8AC3E}">
        <p14:creationId xmlns:p14="http://schemas.microsoft.com/office/powerpoint/2010/main" val="195271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A06DED73-881E-4DA6-8B38-9D3DA76DA338}"/>
              </a:ext>
            </a:extLst>
          </p:cNvPr>
          <p:cNvSpPr/>
          <p:nvPr/>
        </p:nvSpPr>
        <p:spPr bwMode="auto">
          <a:xfrm>
            <a:off x="3131061" y="1396999"/>
            <a:ext cx="8424227" cy="3866537"/>
          </a:xfrm>
          <a:prstGeom prst="roundRect">
            <a:avLst>
              <a:gd name="adj" fmla="val 1099"/>
            </a:avLst>
          </a:prstGeom>
          <a:noFill/>
          <a:ln w="19050">
            <a:solidFill>
              <a:srgbClr val="F36633"/>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dirty="0" err="1">
              <a:solidFill>
                <a:schemeClr val="tx1"/>
              </a:solidFill>
            </a:endParaRPr>
          </a:p>
        </p:txBody>
      </p:sp>
      <p:sp>
        <p:nvSpPr>
          <p:cNvPr id="3" name="Date Placeholder 2">
            <a:extLst>
              <a:ext uri="{FF2B5EF4-FFF2-40B4-BE49-F238E27FC236}">
                <a16:creationId xmlns:a16="http://schemas.microsoft.com/office/drawing/2014/main" id="{77A2C089-E93D-4D14-B616-3EF4D41E9B9A}"/>
              </a:ext>
            </a:extLst>
          </p:cNvPr>
          <p:cNvSpPr>
            <a:spLocks noGrp="1"/>
          </p:cNvSpPr>
          <p:nvPr>
            <p:ph type="dt" sz="half" idx="19"/>
          </p:nvPr>
        </p:nvSpPr>
        <p:spPr/>
        <p:txBody>
          <a:bodyPr/>
          <a:lstStyle/>
          <a:p>
            <a:fld id="{397F4CD0-83C1-4C99-A2BD-6DA4A1CC9D00}" type="datetime4">
              <a:rPr lang="en-GB" smtClean="0"/>
              <a:t>14 September 2023</a:t>
            </a:fld>
            <a:endParaRPr lang="en-GB" dirty="0"/>
          </a:p>
        </p:txBody>
      </p:sp>
      <p:sp>
        <p:nvSpPr>
          <p:cNvPr id="4" name="Slide Number Placeholder 3">
            <a:extLst>
              <a:ext uri="{FF2B5EF4-FFF2-40B4-BE49-F238E27FC236}">
                <a16:creationId xmlns:a16="http://schemas.microsoft.com/office/drawing/2014/main" id="{7E5D5201-937A-46E8-8809-6CA09667EDCE}"/>
              </a:ext>
            </a:extLst>
          </p:cNvPr>
          <p:cNvSpPr>
            <a:spLocks noGrp="1"/>
          </p:cNvSpPr>
          <p:nvPr>
            <p:ph type="sldNum" sz="quarter" idx="21"/>
          </p:nvPr>
        </p:nvSpPr>
        <p:spPr/>
        <p:txBody>
          <a:bodyPr/>
          <a:lstStyle/>
          <a:p>
            <a:fld id="{9F9F533D-B52E-4A2F-BF72-0ADD2D94BD75}" type="slidenum">
              <a:rPr lang="en-GB" smtClean="0"/>
              <a:pPr/>
              <a:t>2</a:t>
            </a:fld>
            <a:endParaRPr lang="en-GB" dirty="0"/>
          </a:p>
        </p:txBody>
      </p:sp>
      <p:sp>
        <p:nvSpPr>
          <p:cNvPr id="9" name="Rectangle 8">
            <a:extLst>
              <a:ext uri="{FF2B5EF4-FFF2-40B4-BE49-F238E27FC236}">
                <a16:creationId xmlns:a16="http://schemas.microsoft.com/office/drawing/2014/main" id="{0B52A59A-E33D-4EDA-B8EE-87813EA2A926}"/>
              </a:ext>
            </a:extLst>
          </p:cNvPr>
          <p:cNvSpPr/>
          <p:nvPr/>
        </p:nvSpPr>
        <p:spPr bwMode="auto">
          <a:xfrm>
            <a:off x="944880" y="924560"/>
            <a:ext cx="3159760" cy="4064000"/>
          </a:xfrm>
          <a:prstGeom prst="rect">
            <a:avLst/>
          </a:prstGeom>
          <a:solidFill>
            <a:schemeClr val="bg1"/>
          </a:solidFill>
          <a:ln>
            <a:noFill/>
            <a:headEnd/>
            <a:tailEnd/>
          </a:ln>
          <a:effectLst>
            <a:outerShdw blurRad="127000" sx="107000" sy="107000" algn="ctr" rotWithShape="0">
              <a:schemeClr val="tx1">
                <a:alpha val="23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dirty="0" err="1">
              <a:solidFill>
                <a:schemeClr val="tx1"/>
              </a:solidFill>
            </a:endParaRPr>
          </a:p>
        </p:txBody>
      </p:sp>
      <p:pic>
        <p:nvPicPr>
          <p:cNvPr id="10" name="Picture 9" descr="A person in a suit&#10;&#10;Description automatically generated with medium confidence">
            <a:extLst>
              <a:ext uri="{FF2B5EF4-FFF2-40B4-BE49-F238E27FC236}">
                <a16:creationId xmlns:a16="http://schemas.microsoft.com/office/drawing/2014/main" id="{ACE2507E-7332-4F2D-AC41-924D2E3620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9176" y="924558"/>
            <a:ext cx="3512024" cy="3921761"/>
          </a:xfrm>
          <a:prstGeom prst="rect">
            <a:avLst/>
          </a:prstGeom>
        </p:spPr>
      </p:pic>
      <p:sp>
        <p:nvSpPr>
          <p:cNvPr id="11" name="Rectangle 10">
            <a:extLst>
              <a:ext uri="{FF2B5EF4-FFF2-40B4-BE49-F238E27FC236}">
                <a16:creationId xmlns:a16="http://schemas.microsoft.com/office/drawing/2014/main" id="{FEFAD35B-EA29-4D4F-9DA9-6F71E5660944}"/>
              </a:ext>
            </a:extLst>
          </p:cNvPr>
          <p:cNvSpPr/>
          <p:nvPr/>
        </p:nvSpPr>
        <p:spPr bwMode="auto">
          <a:xfrm rot="5400000">
            <a:off x="-964565" y="2862581"/>
            <a:ext cx="3921761" cy="45719"/>
          </a:xfrm>
          <a:prstGeom prst="rect">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dirty="0" err="1">
              <a:solidFill>
                <a:schemeClr val="tx1"/>
              </a:solidFill>
            </a:endParaRPr>
          </a:p>
        </p:txBody>
      </p:sp>
      <p:sp>
        <p:nvSpPr>
          <p:cNvPr id="14" name="TextBox 13">
            <a:extLst>
              <a:ext uri="{FF2B5EF4-FFF2-40B4-BE49-F238E27FC236}">
                <a16:creationId xmlns:a16="http://schemas.microsoft.com/office/drawing/2014/main" id="{038D8666-C898-4B31-AFAF-90252C98929E}"/>
              </a:ext>
            </a:extLst>
          </p:cNvPr>
          <p:cNvSpPr txBox="1"/>
          <p:nvPr/>
        </p:nvSpPr>
        <p:spPr>
          <a:xfrm>
            <a:off x="4338575" y="1594464"/>
            <a:ext cx="6982778" cy="3416320"/>
          </a:xfrm>
          <a:prstGeom prst="rect">
            <a:avLst/>
          </a:prstGeom>
          <a:noFill/>
        </p:spPr>
        <p:txBody>
          <a:bodyPr wrap="square">
            <a:spAutoFit/>
          </a:bodyPr>
          <a:lstStyle/>
          <a:p>
            <a:pPr algn="just"/>
            <a:r>
              <a:rPr lang="en-US" sz="1800" dirty="0">
                <a:latin typeface="Segoe UI" panose="020B0502040204020203" pitchFamily="34" charset="0"/>
                <a:cs typeface="Segoe UI" panose="020B0502040204020203" pitchFamily="34" charset="0"/>
              </a:rPr>
              <a:t>Mahaboob Basha has joined us as a Manager Data Analytics and brings over 10 years of experience in the life sciences field. He can provide insights into Phase I, Phase II, and Phase III data to help with decision-making in clinical trials, the commercial life sciences industry, and operational performance metrics (</a:t>
            </a:r>
            <a:r>
              <a:rPr lang="en-US" sz="1800" dirty="0" err="1">
                <a:latin typeface="Segoe UI" panose="020B0502040204020203" pitchFamily="34" charset="0"/>
                <a:cs typeface="Segoe UI" panose="020B0502040204020203" pitchFamily="34" charset="0"/>
              </a:rPr>
              <a:t>CoE</a:t>
            </a:r>
            <a:r>
              <a:rPr lang="en-US" sz="1800" dirty="0">
                <a:latin typeface="Segoe UI" panose="020B0502040204020203" pitchFamily="34" charset="0"/>
                <a:cs typeface="Segoe UI" panose="020B0502040204020203" pitchFamily="34" charset="0"/>
              </a:rPr>
              <a:t>). He was connected to </a:t>
            </a:r>
            <a:r>
              <a:rPr lang="en-US" sz="1800" dirty="0" err="1">
                <a:latin typeface="Segoe UI" panose="020B0502040204020203" pitchFamily="34" charset="0"/>
                <a:cs typeface="Segoe UI" panose="020B0502040204020203" pitchFamily="34" charset="0"/>
              </a:rPr>
              <a:t>Labcorp</a:t>
            </a:r>
            <a:r>
              <a:rPr lang="en-US" sz="1800" dirty="0">
                <a:latin typeface="Segoe UI" panose="020B0502040204020203" pitchFamily="34" charset="0"/>
                <a:cs typeface="Segoe UI" panose="020B0502040204020203" pitchFamily="34" charset="0"/>
              </a:rPr>
              <a:t>, IQVIA, </a:t>
            </a:r>
            <a:r>
              <a:rPr lang="en-US" sz="1800" dirty="0" err="1">
                <a:latin typeface="Segoe UI" panose="020B0502040204020203" pitchFamily="34" charset="0"/>
                <a:cs typeface="Segoe UI" panose="020B0502040204020203" pitchFamily="34" charset="0"/>
              </a:rPr>
              <a:t>Quartesian</a:t>
            </a:r>
            <a:r>
              <a:rPr lang="en-US" sz="1800" dirty="0">
                <a:latin typeface="Segoe UI" panose="020B0502040204020203" pitchFamily="34" charset="0"/>
                <a:cs typeface="Segoe UI" panose="020B0502040204020203" pitchFamily="34" charset="0"/>
              </a:rPr>
              <a:t>, and CIAI (Commercial life sciences start-up) before joining GSK. He enjoys delving into business problems and developing one-of-a-kind, user-centric solutions using BI tools and AI/ML approaches. Furthermore, using AI/ML methodologies, a proof of concept of facial signature and voice-based BI tool integrations was successfully built. He also enjoys cricket, chess, and reading.</a:t>
            </a:r>
          </a:p>
        </p:txBody>
      </p:sp>
      <p:sp>
        <p:nvSpPr>
          <p:cNvPr id="13" name="Text Placeholder 8">
            <a:extLst>
              <a:ext uri="{FF2B5EF4-FFF2-40B4-BE49-F238E27FC236}">
                <a16:creationId xmlns:a16="http://schemas.microsoft.com/office/drawing/2014/main" id="{FB4A9068-EBEF-4ACC-B6F4-8910D86AA005}"/>
              </a:ext>
            </a:extLst>
          </p:cNvPr>
          <p:cNvSpPr txBox="1">
            <a:spLocks/>
          </p:cNvSpPr>
          <p:nvPr/>
        </p:nvSpPr>
        <p:spPr>
          <a:xfrm>
            <a:off x="3009397" y="0"/>
            <a:ext cx="6551321" cy="609606"/>
          </a:xfrm>
          <a:prstGeom prst="rect">
            <a:avLst/>
          </a:prstGeom>
        </p:spPr>
        <p:txBody>
          <a:bodyPr vert="horz" lIns="0" tIns="180000" rIns="0" bIns="180000" rtlCol="0">
            <a:noAutofit/>
          </a:bodyPr>
          <a:lst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US" sz="2800" dirty="0">
                <a:solidFill>
                  <a:srgbClr val="212121"/>
                </a:solidFill>
                <a:latin typeface="Tw Cen MT" panose="020B0602020104020603" pitchFamily="34" charset="0"/>
              </a:rPr>
              <a:t>Welcome to the CMDA – Data Analytics Team</a:t>
            </a:r>
          </a:p>
        </p:txBody>
      </p:sp>
      <p:sp>
        <p:nvSpPr>
          <p:cNvPr id="2" name="TextBox 1">
            <a:extLst>
              <a:ext uri="{FF2B5EF4-FFF2-40B4-BE49-F238E27FC236}">
                <a16:creationId xmlns:a16="http://schemas.microsoft.com/office/drawing/2014/main" id="{BA8559E5-685B-4FF3-AEAD-22C4258134E8}"/>
              </a:ext>
            </a:extLst>
          </p:cNvPr>
          <p:cNvSpPr txBox="1"/>
          <p:nvPr/>
        </p:nvSpPr>
        <p:spPr>
          <a:xfrm>
            <a:off x="10809411" y="74965"/>
            <a:ext cx="1230188" cy="534641"/>
          </a:xfrm>
          <a:prstGeom prst="rect">
            <a:avLst/>
          </a:prstGeom>
          <a:solidFill>
            <a:srgbClr val="FFFF00"/>
          </a:solidFill>
        </p:spPr>
        <p:txBody>
          <a:bodyPr wrap="none" lIns="180000" tIns="180000" rIns="180000" bIns="180000" rtlCol="0">
            <a:normAutofit fontScale="85000" lnSpcReduction="20000"/>
          </a:bodyPr>
          <a:lstStyle/>
          <a:p>
            <a:pPr algn="l">
              <a:spcBef>
                <a:spcPts val="300"/>
              </a:spcBef>
              <a:spcAft>
                <a:spcPts val="300"/>
              </a:spcAft>
              <a:buClr>
                <a:schemeClr val="tx2"/>
              </a:buClr>
              <a:buSzPct val="110000"/>
            </a:pPr>
            <a:r>
              <a:rPr lang="en-US" sz="1600" dirty="0"/>
              <a:t>Option 2</a:t>
            </a:r>
          </a:p>
        </p:txBody>
      </p:sp>
    </p:spTree>
    <p:extLst>
      <p:ext uri="{BB962C8B-B14F-4D97-AF65-F5344CB8AC3E}">
        <p14:creationId xmlns:p14="http://schemas.microsoft.com/office/powerpoint/2010/main" val="268432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8C8EF4-5C60-ACDE-6805-506F3A3C59B7}"/>
              </a:ext>
            </a:extLst>
          </p:cNvPr>
          <p:cNvSpPr>
            <a:spLocks noGrp="1"/>
          </p:cNvSpPr>
          <p:nvPr>
            <p:ph type="dt" sz="half" idx="19"/>
          </p:nvPr>
        </p:nvSpPr>
        <p:spPr/>
        <p:txBody>
          <a:bodyPr/>
          <a:lstStyle/>
          <a:p>
            <a:fld id="{397F4CD0-83C1-4C99-A2BD-6DA4A1CC9D00}" type="datetime4">
              <a:rPr lang="en-GB" smtClean="0"/>
              <a:t>14 September 2023</a:t>
            </a:fld>
            <a:endParaRPr lang="en-GB" dirty="0"/>
          </a:p>
        </p:txBody>
      </p:sp>
      <p:sp>
        <p:nvSpPr>
          <p:cNvPr id="4" name="Slide Number Placeholder 3">
            <a:extLst>
              <a:ext uri="{FF2B5EF4-FFF2-40B4-BE49-F238E27FC236}">
                <a16:creationId xmlns:a16="http://schemas.microsoft.com/office/drawing/2014/main" id="{A79D8C4E-5313-BCC5-3485-716DC0E2E6AA}"/>
              </a:ext>
            </a:extLst>
          </p:cNvPr>
          <p:cNvSpPr>
            <a:spLocks noGrp="1"/>
          </p:cNvSpPr>
          <p:nvPr>
            <p:ph type="sldNum" sz="quarter" idx="21"/>
          </p:nvPr>
        </p:nvSpPr>
        <p:spPr/>
        <p:txBody>
          <a:bodyPr/>
          <a:lstStyle/>
          <a:p>
            <a:fld id="{9F9F533D-B52E-4A2F-BF72-0ADD2D94BD75}" type="slidenum">
              <a:rPr lang="en-GB" smtClean="0"/>
              <a:pPr/>
              <a:t>3</a:t>
            </a:fld>
            <a:endParaRPr lang="en-GB" dirty="0"/>
          </a:p>
        </p:txBody>
      </p:sp>
      <p:pic>
        <p:nvPicPr>
          <p:cNvPr id="9" name="Picture 8">
            <a:extLst>
              <a:ext uri="{FF2B5EF4-FFF2-40B4-BE49-F238E27FC236}">
                <a16:creationId xmlns:a16="http://schemas.microsoft.com/office/drawing/2014/main" id="{1AE278CB-4C74-8868-A461-95DB4953A9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76426" y="-97434"/>
            <a:ext cx="5715000" cy="6381750"/>
          </a:xfrm>
          <a:prstGeom prst="rect">
            <a:avLst/>
          </a:prstGeom>
        </p:spPr>
      </p:pic>
      <p:pic>
        <p:nvPicPr>
          <p:cNvPr id="11" name="Picture 10">
            <a:extLst>
              <a:ext uri="{FF2B5EF4-FFF2-40B4-BE49-F238E27FC236}">
                <a16:creationId xmlns:a16="http://schemas.microsoft.com/office/drawing/2014/main" id="{F93E0F7E-644C-8BA4-7F81-C911182412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712" y="106362"/>
            <a:ext cx="4943475" cy="6372225"/>
          </a:xfrm>
          <a:prstGeom prst="rect">
            <a:avLst/>
          </a:prstGeom>
        </p:spPr>
      </p:pic>
    </p:spTree>
    <p:extLst>
      <p:ext uri="{BB962C8B-B14F-4D97-AF65-F5344CB8AC3E}">
        <p14:creationId xmlns:p14="http://schemas.microsoft.com/office/powerpoint/2010/main" val="266240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GSK " val="DqY5De45"/>
  <p:tag name="ARTICULATE_SLIDE_COUNT" val="3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2.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31989eb-7121-409c-871c-8f2366272918">
      <Terms xmlns="http://schemas.microsoft.com/office/infopath/2007/PartnerControls"/>
    </lcf76f155ced4ddcb4097134ff3c332f>
    <TaxCatchAll xmlns="a5bf85ab-5b89-45d5-812d-d881043611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FBBF6E9189954BA0FDCD563682A98B" ma:contentTypeVersion="16" ma:contentTypeDescription="Create a new document." ma:contentTypeScope="" ma:versionID="1a4143a5922bdc6b3737ea9818078587">
  <xsd:schema xmlns:xsd="http://www.w3.org/2001/XMLSchema" xmlns:xs="http://www.w3.org/2001/XMLSchema" xmlns:p="http://schemas.microsoft.com/office/2006/metadata/properties" xmlns:ns2="731989eb-7121-409c-871c-8f2366272918" xmlns:ns3="a5bf85ab-5b89-45d5-812d-d881043611a5" targetNamespace="http://schemas.microsoft.com/office/2006/metadata/properties" ma:root="true" ma:fieldsID="d5969143f17593460ff451703e77bfd7" ns2:_="" ns3:_="">
    <xsd:import namespace="731989eb-7121-409c-871c-8f2366272918"/>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1989eb-7121-409c-871c-8f23662729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FC8329-C6F9-417B-AFDE-5E22243E6E66}">
  <ds:schemaRefs>
    <ds:schemaRef ds:uri="http://purl.org/dc/elements/1.1/"/>
    <ds:schemaRef ds:uri="http://schemas.microsoft.com/office/2006/documentManagement/types"/>
    <ds:schemaRef ds:uri="http://purl.org/dc/dcmitype/"/>
    <ds:schemaRef ds:uri="http://schemas.openxmlformats.org/package/2006/metadata/core-properties"/>
    <ds:schemaRef ds:uri="http://schemas.microsoft.com/office/infopath/2007/PartnerControls"/>
    <ds:schemaRef ds:uri="http://purl.org/dc/terms/"/>
    <ds:schemaRef ds:uri="http://www.w3.org/XML/1998/namespace"/>
    <ds:schemaRef ds:uri="a5bf85ab-5b89-45d5-812d-d881043611a5"/>
    <ds:schemaRef ds:uri="731989eb-7121-409c-871c-8f2366272918"/>
    <ds:schemaRef ds:uri="http://schemas.microsoft.com/office/2006/metadata/properties"/>
  </ds:schemaRefs>
</ds:datastoreItem>
</file>

<file path=customXml/itemProps2.xml><?xml version="1.0" encoding="utf-8"?>
<ds:datastoreItem xmlns:ds="http://schemas.openxmlformats.org/officeDocument/2006/customXml" ds:itemID="{A5DA663B-0373-4C8B-B815-9005A7A0024E}">
  <ds:schemaRefs>
    <ds:schemaRef ds:uri="http://schemas.microsoft.com/sharepoint/v3/contenttype/forms"/>
  </ds:schemaRefs>
</ds:datastoreItem>
</file>

<file path=customXml/itemProps3.xml><?xml version="1.0" encoding="utf-8"?>
<ds:datastoreItem xmlns:ds="http://schemas.openxmlformats.org/officeDocument/2006/customXml" ds:itemID="{EE0F26C6-5C28-44C7-AF1C-6D797356FB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1989eb-7121-409c-871c-8f2366272918"/>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SK_New_PPT_16x9_Template_Sep22_v3</Template>
  <TotalTime>146</TotalTime>
  <Words>290</Words>
  <Application>Microsoft Office PowerPoint</Application>
  <PresentationFormat>Widescreen</PresentationFormat>
  <Paragraphs>11</Paragraphs>
  <Slides>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Segoe UI</vt:lpstr>
      <vt:lpstr>Tw Cen MT</vt:lpstr>
      <vt:lpstr>GSK </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haboob Basha Shaik</dc:creator>
  <cp:lastModifiedBy>Mahaboob Basha</cp:lastModifiedBy>
  <cp:revision>9</cp:revision>
  <dcterms:created xsi:type="dcterms:W3CDTF">2022-12-26T13:04:46Z</dcterms:created>
  <dcterms:modified xsi:type="dcterms:W3CDTF">2023-09-14T13:3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FBBF6E9189954BA0FDCD563682A98B</vt:lpwstr>
  </property>
  <property fmtid="{D5CDD505-2E9C-101B-9397-08002B2CF9AE}" pid="3" name="MediaServiceImageTags">
    <vt:lpwstr/>
  </property>
  <property fmtid="{D5CDD505-2E9C-101B-9397-08002B2CF9AE}" pid="4" name="ArticulateGUID">
    <vt:lpwstr>15CDE283-B26F-4D28-871F-EAED173C219D</vt:lpwstr>
  </property>
  <property fmtid="{D5CDD505-2E9C-101B-9397-08002B2CF9AE}" pid="5" name="ArticulatePath">
    <vt:lpwstr>Presentation1</vt:lpwstr>
  </property>
</Properties>
</file>